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257" r:id="rId5"/>
    <p:sldId id="354" r:id="rId6"/>
    <p:sldId id="279" r:id="rId7"/>
    <p:sldId id="272" r:id="rId8"/>
    <p:sldId id="320" r:id="rId9"/>
    <p:sldId id="340" r:id="rId10"/>
    <p:sldId id="348" r:id="rId11"/>
    <p:sldId id="321" r:id="rId12"/>
    <p:sldId id="324" r:id="rId13"/>
    <p:sldId id="345" r:id="rId14"/>
    <p:sldId id="325" r:id="rId15"/>
    <p:sldId id="326" r:id="rId16"/>
    <p:sldId id="298" r:id="rId17"/>
    <p:sldId id="350" r:id="rId18"/>
    <p:sldId id="300" r:id="rId19"/>
    <p:sldId id="353" r:id="rId20"/>
    <p:sldId id="351" r:id="rId21"/>
    <p:sldId id="358" r:id="rId22"/>
    <p:sldId id="343" r:id="rId23"/>
    <p:sldId id="366" r:id="rId24"/>
    <p:sldId id="362" r:id="rId25"/>
    <p:sldId id="355" r:id="rId26"/>
    <p:sldId id="356" r:id="rId27"/>
    <p:sldId id="361" r:id="rId28"/>
    <p:sldId id="270" r:id="rId2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4952"/>
    <a:srgbClr val="EE75AA"/>
    <a:srgbClr val="2727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6" autoAdjust="0"/>
    <p:restoredTop sz="93014" autoAdjust="0"/>
  </p:normalViewPr>
  <p:slideViewPr>
    <p:cSldViewPr snapToGrid="0" snapToObjects="1">
      <p:cViewPr>
        <p:scale>
          <a:sx n="100" d="100"/>
          <a:sy n="100" d="100"/>
        </p:scale>
        <p:origin x="-708" y="-4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2" d="100"/>
          <a:sy n="52" d="100"/>
        </p:scale>
        <p:origin x="-283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4480B2-F74F-4539-AE1C-9C73E062D039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ED6A3CDC-574B-4B15-88EE-E3325228E5B0}">
      <dgm:prSet phldrT="[Text]" custT="1"/>
      <dgm:spPr>
        <a:solidFill>
          <a:schemeClr val="accent3">
            <a:lumMod val="75000"/>
          </a:schemeClr>
        </a:solidFill>
        <a:effectLst/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/>
            <a:t>Прозрачные требования к данным</a:t>
          </a:r>
          <a:r>
            <a:rPr lang="en-US" sz="1800" b="1" dirty="0" smtClean="0"/>
            <a:t> </a:t>
          </a:r>
          <a:r>
            <a:rPr lang="ru-RU" sz="1800" b="1" dirty="0" smtClean="0"/>
            <a:t>соответствуют 421-П</a:t>
          </a:r>
          <a:endParaRPr lang="en-GB" sz="1800" b="1" dirty="0" smtClean="0"/>
        </a:p>
      </dgm:t>
    </dgm:pt>
    <dgm:pt modelId="{B46729A4-8A29-4E2B-9339-006DEDFE2EA7}" type="parTrans" cxnId="{EBF045AD-EA4F-42BF-A64F-42A950423017}">
      <dgm:prSet/>
      <dgm:spPr/>
      <dgm:t>
        <a:bodyPr/>
        <a:lstStyle/>
        <a:p>
          <a:endParaRPr lang="en-GB" sz="1800" b="1"/>
        </a:p>
      </dgm:t>
    </dgm:pt>
    <dgm:pt modelId="{A76F3892-9E26-495B-8171-5F8C5B1BC360}" type="sibTrans" cxnId="{EBF045AD-EA4F-42BF-A64F-42A950423017}">
      <dgm:prSet/>
      <dgm:spPr/>
      <dgm:t>
        <a:bodyPr/>
        <a:lstStyle/>
        <a:p>
          <a:endParaRPr lang="en-GB" sz="1800" b="1"/>
        </a:p>
      </dgm:t>
    </dgm:pt>
    <dgm:pt modelId="{FBCEB026-2E39-4E9F-A70D-7321BDE7FDFB}">
      <dgm:prSet custT="1"/>
      <dgm:spPr>
        <a:solidFill>
          <a:schemeClr val="accent3">
            <a:lumMod val="75000"/>
          </a:schemeClr>
        </a:solidFill>
        <a:effectLst/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/>
            <a:t>Полностью автоматизированный процесс</a:t>
          </a:r>
          <a:endParaRPr lang="en-US" sz="1800" b="1" dirty="0"/>
        </a:p>
      </dgm:t>
    </dgm:pt>
    <dgm:pt modelId="{37005464-FFF4-4868-8E35-3FDC40B2B202}" type="parTrans" cxnId="{1857BFBE-AC39-4D85-A71E-44D88BCC32FD}">
      <dgm:prSet/>
      <dgm:spPr/>
      <dgm:t>
        <a:bodyPr/>
        <a:lstStyle/>
        <a:p>
          <a:endParaRPr lang="de-AT" sz="1800" b="1"/>
        </a:p>
      </dgm:t>
    </dgm:pt>
    <dgm:pt modelId="{B888E292-5198-41F8-BAFB-5C54D6C54D95}" type="sibTrans" cxnId="{1857BFBE-AC39-4D85-A71E-44D88BCC32FD}">
      <dgm:prSet/>
      <dgm:spPr/>
      <dgm:t>
        <a:bodyPr/>
        <a:lstStyle/>
        <a:p>
          <a:endParaRPr lang="de-AT" sz="1800" b="1"/>
        </a:p>
      </dgm:t>
    </dgm:pt>
    <dgm:pt modelId="{7B1CC8E9-4972-4025-9689-77D0A55FBB0D}">
      <dgm:prSet custT="1"/>
      <dgm:spPr>
        <a:solidFill>
          <a:schemeClr val="accent3">
            <a:lumMod val="75000"/>
          </a:schemeClr>
        </a:solidFill>
        <a:effectLst/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/>
            <a:t>Открытые настройки правил по 421-П</a:t>
          </a:r>
          <a:endParaRPr lang="en-US" sz="1800" b="1" dirty="0"/>
        </a:p>
      </dgm:t>
    </dgm:pt>
    <dgm:pt modelId="{0E52CA1A-B0AB-41AA-B2C1-F1C59DCEB6F8}" type="sibTrans" cxnId="{AD24A585-7173-43A1-8007-0AEFCB46F675}">
      <dgm:prSet/>
      <dgm:spPr/>
      <dgm:t>
        <a:bodyPr/>
        <a:lstStyle/>
        <a:p>
          <a:endParaRPr lang="en-GB" sz="1800" b="1"/>
        </a:p>
      </dgm:t>
    </dgm:pt>
    <dgm:pt modelId="{82A7C537-0A8D-4DAE-9EDB-6A869519D01A}" type="parTrans" cxnId="{AD24A585-7173-43A1-8007-0AEFCB46F675}">
      <dgm:prSet/>
      <dgm:spPr/>
      <dgm:t>
        <a:bodyPr/>
        <a:lstStyle/>
        <a:p>
          <a:endParaRPr lang="en-GB" sz="1800" b="1"/>
        </a:p>
      </dgm:t>
    </dgm:pt>
    <dgm:pt modelId="{B2AE1E08-88B9-4A85-AFFA-73370DF708A4}">
      <dgm:prSet phldrT="[Text]" custT="1"/>
      <dgm:spPr>
        <a:solidFill>
          <a:schemeClr val="accent3">
            <a:lumMod val="75000"/>
          </a:schemeClr>
        </a:solidFill>
        <a:effectLst/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/>
            <a:t>Высокопроизводительные импорт и обработка</a:t>
          </a:r>
          <a:endParaRPr lang="en-GB" sz="1800" b="1" dirty="0" smtClean="0"/>
        </a:p>
      </dgm:t>
    </dgm:pt>
    <dgm:pt modelId="{E33DE9C0-B122-4293-A780-A01D6236826D}" type="parTrans" cxnId="{30247F55-3435-46A4-B304-B8B742773AD3}">
      <dgm:prSet/>
      <dgm:spPr/>
      <dgm:t>
        <a:bodyPr/>
        <a:lstStyle/>
        <a:p>
          <a:endParaRPr lang="de-AT" sz="1800" b="1"/>
        </a:p>
      </dgm:t>
    </dgm:pt>
    <dgm:pt modelId="{C09C436A-CA42-49ED-9E85-21BF1974F5A1}" type="sibTrans" cxnId="{30247F55-3435-46A4-B304-B8B742773AD3}">
      <dgm:prSet/>
      <dgm:spPr/>
      <dgm:t>
        <a:bodyPr/>
        <a:lstStyle/>
        <a:p>
          <a:endParaRPr lang="de-AT" sz="1800" b="1"/>
        </a:p>
      </dgm:t>
    </dgm:pt>
    <dgm:pt modelId="{A8E6146B-A526-437E-807F-F61D29167859}">
      <dgm:prSet custT="1"/>
      <dgm:spPr>
        <a:solidFill>
          <a:schemeClr val="accent3">
            <a:lumMod val="75000"/>
          </a:schemeClr>
        </a:solidFill>
        <a:effectLst/>
        <a:scene3d>
          <a:camera prst="orthographicFront"/>
          <a:lightRig rig="threePt" dir="t"/>
        </a:scene3d>
        <a:sp3d>
          <a:bevelT prst="relaxedInset"/>
        </a:sp3d>
      </dgm:spPr>
      <dgm:t>
        <a:bodyPr/>
        <a:lstStyle/>
        <a:p>
          <a:r>
            <a:rPr lang="ru-RU" sz="1800" b="1" dirty="0" smtClean="0"/>
            <a:t>Опытная команда + проверенный план внедрения</a:t>
          </a:r>
          <a:endParaRPr lang="en-US" sz="1800" b="1" dirty="0"/>
        </a:p>
      </dgm:t>
    </dgm:pt>
    <dgm:pt modelId="{11845A1B-F673-43ED-921D-3300745725F1}" type="parTrans" cxnId="{798B3299-A57D-4644-A73A-11E116F68981}">
      <dgm:prSet/>
      <dgm:spPr/>
    </dgm:pt>
    <dgm:pt modelId="{7D3A72CA-AD47-4EC8-9864-AB3D5F3A8F6D}" type="sibTrans" cxnId="{798B3299-A57D-4644-A73A-11E116F68981}">
      <dgm:prSet/>
      <dgm:spPr/>
    </dgm:pt>
    <dgm:pt modelId="{B45E08EA-4A1B-4F18-9EBB-C299241DCD11}" type="pres">
      <dgm:prSet presAssocID="{064480B2-F74F-4539-AE1C-9C73E062D03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927C1F04-3654-44B8-9784-47A7E7E04FCF}" type="pres">
      <dgm:prSet presAssocID="{ED6A3CDC-574B-4B15-88EE-E3325228E5B0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B230011-0D34-4FAD-88FA-3B342BF7DF80}" type="pres">
      <dgm:prSet presAssocID="{A76F3892-9E26-495B-8171-5F8C5B1BC360}" presName="spacer" presStyleCnt="0"/>
      <dgm:spPr/>
      <dgm:t>
        <a:bodyPr/>
        <a:lstStyle/>
        <a:p>
          <a:endParaRPr lang="de-DE"/>
        </a:p>
      </dgm:t>
    </dgm:pt>
    <dgm:pt modelId="{48C9DCFD-FE0A-4836-A047-EEB8DD9E8D88}" type="pres">
      <dgm:prSet presAssocID="{B2AE1E08-88B9-4A85-AFFA-73370DF708A4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de-AT"/>
        </a:p>
      </dgm:t>
    </dgm:pt>
    <dgm:pt modelId="{1A7DCBB4-D2B8-48B3-8F28-DB497F1F47FF}" type="pres">
      <dgm:prSet presAssocID="{C09C436A-CA42-49ED-9E85-21BF1974F5A1}" presName="spacer" presStyleCnt="0"/>
      <dgm:spPr/>
      <dgm:t>
        <a:bodyPr/>
        <a:lstStyle/>
        <a:p>
          <a:endParaRPr lang="de-DE"/>
        </a:p>
      </dgm:t>
    </dgm:pt>
    <dgm:pt modelId="{723B18F7-131A-413B-ACF9-9850949745A4}" type="pres">
      <dgm:prSet presAssocID="{7B1CC8E9-4972-4025-9689-77D0A55FBB0D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45469B7-F349-4A5F-B47B-979FB59F5594}" type="pres">
      <dgm:prSet presAssocID="{0E52CA1A-B0AB-41AA-B2C1-F1C59DCEB6F8}" presName="spacer" presStyleCnt="0"/>
      <dgm:spPr/>
      <dgm:t>
        <a:bodyPr/>
        <a:lstStyle/>
        <a:p>
          <a:endParaRPr lang="de-DE"/>
        </a:p>
      </dgm:t>
    </dgm:pt>
    <dgm:pt modelId="{A3AFE93A-1328-4C83-87BF-FCDAF41ECB7E}" type="pres">
      <dgm:prSet presAssocID="{FBCEB026-2E39-4E9F-A70D-7321BDE7FDFB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de-AT"/>
        </a:p>
      </dgm:t>
    </dgm:pt>
    <dgm:pt modelId="{063E0DAA-2B73-4A31-A5F5-2405E86893FB}" type="pres">
      <dgm:prSet presAssocID="{B888E292-5198-41F8-BAFB-5C54D6C54D95}" presName="spacer" presStyleCnt="0"/>
      <dgm:spPr/>
      <dgm:t>
        <a:bodyPr/>
        <a:lstStyle/>
        <a:p>
          <a:endParaRPr lang="de-DE"/>
        </a:p>
      </dgm:t>
    </dgm:pt>
    <dgm:pt modelId="{F47342EF-015D-4230-A3F2-97971EA5A854}" type="pres">
      <dgm:prSet presAssocID="{A8E6146B-A526-437E-807F-F61D29167859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857BFBE-AC39-4D85-A71E-44D88BCC32FD}" srcId="{064480B2-F74F-4539-AE1C-9C73E062D039}" destId="{FBCEB026-2E39-4E9F-A70D-7321BDE7FDFB}" srcOrd="3" destOrd="0" parTransId="{37005464-FFF4-4868-8E35-3FDC40B2B202}" sibTransId="{B888E292-5198-41F8-BAFB-5C54D6C54D95}"/>
    <dgm:cxn modelId="{25A62BF4-23D1-4BFB-8ECF-8ABCC4A1A97D}" type="presOf" srcId="{A8E6146B-A526-437E-807F-F61D29167859}" destId="{F47342EF-015D-4230-A3F2-97971EA5A854}" srcOrd="0" destOrd="0" presId="urn:microsoft.com/office/officeart/2005/8/layout/vList2"/>
    <dgm:cxn modelId="{EBF045AD-EA4F-42BF-A64F-42A950423017}" srcId="{064480B2-F74F-4539-AE1C-9C73E062D039}" destId="{ED6A3CDC-574B-4B15-88EE-E3325228E5B0}" srcOrd="0" destOrd="0" parTransId="{B46729A4-8A29-4E2B-9339-006DEDFE2EA7}" sibTransId="{A76F3892-9E26-495B-8171-5F8C5B1BC360}"/>
    <dgm:cxn modelId="{30247F55-3435-46A4-B304-B8B742773AD3}" srcId="{064480B2-F74F-4539-AE1C-9C73E062D039}" destId="{B2AE1E08-88B9-4A85-AFFA-73370DF708A4}" srcOrd="1" destOrd="0" parTransId="{E33DE9C0-B122-4293-A780-A01D6236826D}" sibTransId="{C09C436A-CA42-49ED-9E85-21BF1974F5A1}"/>
    <dgm:cxn modelId="{C2707A27-9E19-4BE2-B453-3D39AE0B6063}" type="presOf" srcId="{B2AE1E08-88B9-4A85-AFFA-73370DF708A4}" destId="{48C9DCFD-FE0A-4836-A047-EEB8DD9E8D88}" srcOrd="0" destOrd="0" presId="urn:microsoft.com/office/officeart/2005/8/layout/vList2"/>
    <dgm:cxn modelId="{637E5BED-2EFF-4E48-8A83-3671B449C092}" type="presOf" srcId="{064480B2-F74F-4539-AE1C-9C73E062D039}" destId="{B45E08EA-4A1B-4F18-9EBB-C299241DCD11}" srcOrd="0" destOrd="0" presId="urn:microsoft.com/office/officeart/2005/8/layout/vList2"/>
    <dgm:cxn modelId="{AD24A585-7173-43A1-8007-0AEFCB46F675}" srcId="{064480B2-F74F-4539-AE1C-9C73E062D039}" destId="{7B1CC8E9-4972-4025-9689-77D0A55FBB0D}" srcOrd="2" destOrd="0" parTransId="{82A7C537-0A8D-4DAE-9EDB-6A869519D01A}" sibTransId="{0E52CA1A-B0AB-41AA-B2C1-F1C59DCEB6F8}"/>
    <dgm:cxn modelId="{798B3299-A57D-4644-A73A-11E116F68981}" srcId="{064480B2-F74F-4539-AE1C-9C73E062D039}" destId="{A8E6146B-A526-437E-807F-F61D29167859}" srcOrd="4" destOrd="0" parTransId="{11845A1B-F673-43ED-921D-3300745725F1}" sibTransId="{7D3A72CA-AD47-4EC8-9864-AB3D5F3A8F6D}"/>
    <dgm:cxn modelId="{0A6E9E24-8F32-4459-A983-A5FA991A8258}" type="presOf" srcId="{7B1CC8E9-4972-4025-9689-77D0A55FBB0D}" destId="{723B18F7-131A-413B-ACF9-9850949745A4}" srcOrd="0" destOrd="0" presId="urn:microsoft.com/office/officeart/2005/8/layout/vList2"/>
    <dgm:cxn modelId="{AFDB16DE-2058-4DA8-8919-CDB64F2C37E2}" type="presOf" srcId="{ED6A3CDC-574B-4B15-88EE-E3325228E5B0}" destId="{927C1F04-3654-44B8-9784-47A7E7E04FCF}" srcOrd="0" destOrd="0" presId="urn:microsoft.com/office/officeart/2005/8/layout/vList2"/>
    <dgm:cxn modelId="{ED65E233-C50A-48B4-959C-6623211F8262}" type="presOf" srcId="{FBCEB026-2E39-4E9F-A70D-7321BDE7FDFB}" destId="{A3AFE93A-1328-4C83-87BF-FCDAF41ECB7E}" srcOrd="0" destOrd="0" presId="urn:microsoft.com/office/officeart/2005/8/layout/vList2"/>
    <dgm:cxn modelId="{011EABE2-8A97-406B-8E10-C3847BC9C95C}" type="presParOf" srcId="{B45E08EA-4A1B-4F18-9EBB-C299241DCD11}" destId="{927C1F04-3654-44B8-9784-47A7E7E04FCF}" srcOrd="0" destOrd="0" presId="urn:microsoft.com/office/officeart/2005/8/layout/vList2"/>
    <dgm:cxn modelId="{DBCF3D37-2FC3-48CC-893C-BC1352617D68}" type="presParOf" srcId="{B45E08EA-4A1B-4F18-9EBB-C299241DCD11}" destId="{EB230011-0D34-4FAD-88FA-3B342BF7DF80}" srcOrd="1" destOrd="0" presId="urn:microsoft.com/office/officeart/2005/8/layout/vList2"/>
    <dgm:cxn modelId="{1657DCDB-3561-4CA7-A6C0-EDA3111F3455}" type="presParOf" srcId="{B45E08EA-4A1B-4F18-9EBB-C299241DCD11}" destId="{48C9DCFD-FE0A-4836-A047-EEB8DD9E8D88}" srcOrd="2" destOrd="0" presId="urn:microsoft.com/office/officeart/2005/8/layout/vList2"/>
    <dgm:cxn modelId="{D07A7789-49F5-4487-B38B-7EF6060F0047}" type="presParOf" srcId="{B45E08EA-4A1B-4F18-9EBB-C299241DCD11}" destId="{1A7DCBB4-D2B8-48B3-8F28-DB497F1F47FF}" srcOrd="3" destOrd="0" presId="urn:microsoft.com/office/officeart/2005/8/layout/vList2"/>
    <dgm:cxn modelId="{DE47FF11-BB37-45CD-BFB6-5110A889F903}" type="presParOf" srcId="{B45E08EA-4A1B-4F18-9EBB-C299241DCD11}" destId="{723B18F7-131A-413B-ACF9-9850949745A4}" srcOrd="4" destOrd="0" presId="urn:microsoft.com/office/officeart/2005/8/layout/vList2"/>
    <dgm:cxn modelId="{4D26DC8C-0B31-44D6-9A0C-DAC1F84E994E}" type="presParOf" srcId="{B45E08EA-4A1B-4F18-9EBB-C299241DCD11}" destId="{C45469B7-F349-4A5F-B47B-979FB59F5594}" srcOrd="5" destOrd="0" presId="urn:microsoft.com/office/officeart/2005/8/layout/vList2"/>
    <dgm:cxn modelId="{92310BFF-7AA7-421E-A551-7C93DC4B9225}" type="presParOf" srcId="{B45E08EA-4A1B-4F18-9EBB-C299241DCD11}" destId="{A3AFE93A-1328-4C83-87BF-FCDAF41ECB7E}" srcOrd="6" destOrd="0" presId="urn:microsoft.com/office/officeart/2005/8/layout/vList2"/>
    <dgm:cxn modelId="{9C54D6B8-4E79-42A0-B877-37BE5AE4D1B9}" type="presParOf" srcId="{B45E08EA-4A1B-4F18-9EBB-C299241DCD11}" destId="{063E0DAA-2B73-4A31-A5F5-2405E86893FB}" srcOrd="7" destOrd="0" presId="urn:microsoft.com/office/officeart/2005/8/layout/vList2"/>
    <dgm:cxn modelId="{B04620AD-1EB3-408D-A53B-2358211D2389}" type="presParOf" srcId="{B45E08EA-4A1B-4F18-9EBB-C299241DCD11}" destId="{F47342EF-015D-4230-A3F2-97971EA5A854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D9A76B-0A15-42BF-B1DA-C4D27704E403}" type="doc">
      <dgm:prSet loTypeId="urn:microsoft.com/office/officeart/2005/8/layout/hProcess11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GB"/>
        </a:p>
      </dgm:t>
    </dgm:pt>
    <dgm:pt modelId="{F8FB3993-906C-4782-9958-1B84AA5418B1}">
      <dgm:prSet phldrT="[Text]" custT="1"/>
      <dgm:spPr/>
      <dgm:t>
        <a:bodyPr/>
        <a:lstStyle/>
        <a:p>
          <a:r>
            <a:rPr lang="ru-RU" sz="1200" dirty="0" smtClean="0"/>
            <a:t>Импорт данных</a:t>
          </a:r>
          <a:endParaRPr lang="en-GB" sz="1200" dirty="0"/>
        </a:p>
      </dgm:t>
    </dgm:pt>
    <dgm:pt modelId="{9A521399-4C95-47B7-B22C-62284F60345D}" type="parTrans" cxnId="{7E7BFCFA-9DBB-4E57-B680-7E6685D6D333}">
      <dgm:prSet/>
      <dgm:spPr/>
      <dgm:t>
        <a:bodyPr/>
        <a:lstStyle/>
        <a:p>
          <a:endParaRPr lang="en-GB" sz="1200"/>
        </a:p>
      </dgm:t>
    </dgm:pt>
    <dgm:pt modelId="{98EBAD30-68BC-473F-8561-E4C0C9F1AB79}" type="sibTrans" cxnId="{7E7BFCFA-9DBB-4E57-B680-7E6685D6D333}">
      <dgm:prSet/>
      <dgm:spPr/>
      <dgm:t>
        <a:bodyPr/>
        <a:lstStyle/>
        <a:p>
          <a:endParaRPr lang="en-GB" sz="1200"/>
        </a:p>
      </dgm:t>
    </dgm:pt>
    <dgm:pt modelId="{B8E8AAFE-04F9-4556-A967-619E1DDB5752}">
      <dgm:prSet phldrT="[Text]" custT="1"/>
      <dgm:spPr/>
      <dgm:t>
        <a:bodyPr/>
        <a:lstStyle/>
        <a:p>
          <a:r>
            <a:rPr lang="ru-RU" sz="1200" dirty="0" smtClean="0"/>
            <a:t>Валидация данных</a:t>
          </a:r>
          <a:endParaRPr lang="en-GB" sz="1200" dirty="0"/>
        </a:p>
      </dgm:t>
    </dgm:pt>
    <dgm:pt modelId="{6734A6A0-0587-4C80-A6B8-37B327078381}" type="parTrans" cxnId="{3028A704-0637-4ED9-B4B1-2576FFA6AB80}">
      <dgm:prSet/>
      <dgm:spPr/>
      <dgm:t>
        <a:bodyPr/>
        <a:lstStyle/>
        <a:p>
          <a:endParaRPr lang="en-GB" sz="1200"/>
        </a:p>
      </dgm:t>
    </dgm:pt>
    <dgm:pt modelId="{CAEF5C01-3022-4509-B814-FFCE6795638F}" type="sibTrans" cxnId="{3028A704-0637-4ED9-B4B1-2576FFA6AB80}">
      <dgm:prSet/>
      <dgm:spPr/>
      <dgm:t>
        <a:bodyPr/>
        <a:lstStyle/>
        <a:p>
          <a:endParaRPr lang="en-GB" sz="1200"/>
        </a:p>
      </dgm:t>
    </dgm:pt>
    <dgm:pt modelId="{A6B0BC1D-EE6E-45AF-A02C-C4655531CC82}">
      <dgm:prSet phldrT="[Text]" custT="1"/>
      <dgm:spPr/>
      <dgm:t>
        <a:bodyPr/>
        <a:lstStyle/>
        <a:p>
          <a:r>
            <a:rPr lang="ru-RU" sz="1200" dirty="0" smtClean="0"/>
            <a:t>Обогащение и классифи-кация данных</a:t>
          </a:r>
          <a:endParaRPr lang="en-GB" sz="1200" dirty="0"/>
        </a:p>
      </dgm:t>
    </dgm:pt>
    <dgm:pt modelId="{A1627861-C3E9-475A-9B59-426B18CB699E}" type="parTrans" cxnId="{2FAEB721-8546-4047-8FF2-87BC51EED41E}">
      <dgm:prSet/>
      <dgm:spPr/>
      <dgm:t>
        <a:bodyPr/>
        <a:lstStyle/>
        <a:p>
          <a:endParaRPr lang="en-GB" sz="1200"/>
        </a:p>
      </dgm:t>
    </dgm:pt>
    <dgm:pt modelId="{2D2B143B-2BE5-403F-A4F1-116DB7732F9B}" type="sibTrans" cxnId="{2FAEB721-8546-4047-8FF2-87BC51EED41E}">
      <dgm:prSet/>
      <dgm:spPr/>
      <dgm:t>
        <a:bodyPr/>
        <a:lstStyle/>
        <a:p>
          <a:endParaRPr lang="en-GB" sz="1200"/>
        </a:p>
      </dgm:t>
    </dgm:pt>
    <dgm:pt modelId="{48999669-2EFC-4125-A204-0BB3B65D5301}">
      <dgm:prSet custT="1"/>
      <dgm:spPr/>
      <dgm:t>
        <a:bodyPr/>
        <a:lstStyle/>
        <a:p>
          <a:r>
            <a:rPr lang="ru-RU" sz="1200" dirty="0" smtClean="0"/>
            <a:t>Расчет ПКЛ</a:t>
          </a:r>
          <a:endParaRPr lang="en-GB" sz="1200" dirty="0"/>
        </a:p>
      </dgm:t>
    </dgm:pt>
    <dgm:pt modelId="{F2BA8995-8123-4EEA-BF79-3812501ED455}" type="parTrans" cxnId="{6155C150-6842-447E-82B9-CFB0C9ACAA04}">
      <dgm:prSet/>
      <dgm:spPr/>
      <dgm:t>
        <a:bodyPr/>
        <a:lstStyle/>
        <a:p>
          <a:endParaRPr lang="en-GB" sz="1200"/>
        </a:p>
      </dgm:t>
    </dgm:pt>
    <dgm:pt modelId="{FCCE3965-3DE9-4413-9F38-47D6E3CFD965}" type="sibTrans" cxnId="{6155C150-6842-447E-82B9-CFB0C9ACAA04}">
      <dgm:prSet/>
      <dgm:spPr/>
      <dgm:t>
        <a:bodyPr/>
        <a:lstStyle/>
        <a:p>
          <a:endParaRPr lang="en-GB" sz="1200"/>
        </a:p>
      </dgm:t>
    </dgm:pt>
    <dgm:pt modelId="{F5B0E824-7496-4A82-8D97-C8F02B8B9294}">
      <dgm:prSet custT="1"/>
      <dgm:spPr/>
      <dgm:t>
        <a:bodyPr/>
        <a:lstStyle/>
        <a:p>
          <a:r>
            <a:rPr lang="ru-RU" sz="1200" dirty="0" smtClean="0"/>
            <a:t>Формирование отчета</a:t>
          </a:r>
          <a:endParaRPr lang="en-GB" sz="1200" dirty="0"/>
        </a:p>
      </dgm:t>
    </dgm:pt>
    <dgm:pt modelId="{BB95F89F-424D-4F79-B35F-7D8DB0A4098E}" type="parTrans" cxnId="{ED308A46-5C10-4928-9AC5-60B1EC476D90}">
      <dgm:prSet/>
      <dgm:spPr/>
      <dgm:t>
        <a:bodyPr/>
        <a:lstStyle/>
        <a:p>
          <a:endParaRPr lang="en-GB" sz="1200"/>
        </a:p>
      </dgm:t>
    </dgm:pt>
    <dgm:pt modelId="{774EEA33-B43B-46EC-A132-BE3863C313CF}" type="sibTrans" cxnId="{ED308A46-5C10-4928-9AC5-60B1EC476D90}">
      <dgm:prSet/>
      <dgm:spPr/>
      <dgm:t>
        <a:bodyPr/>
        <a:lstStyle/>
        <a:p>
          <a:endParaRPr lang="en-GB" sz="1200"/>
        </a:p>
      </dgm:t>
    </dgm:pt>
    <dgm:pt modelId="{84C8BEAA-890B-4454-A6E5-A3715C3937C6}" type="pres">
      <dgm:prSet presAssocID="{3ED9A76B-0A15-42BF-B1DA-C4D27704E40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10653CD0-2647-4A58-A448-892C1D9CB652}" type="pres">
      <dgm:prSet presAssocID="{3ED9A76B-0A15-42BF-B1DA-C4D27704E403}" presName="arrow" presStyleLbl="bgShp" presStyleIdx="0" presStyleCn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gradFill rotWithShape="0">
          <a:gsLst>
            <a:gs pos="0">
              <a:schemeClr val="accent3">
                <a:lumMod val="50000"/>
              </a:schemeClr>
            </a:gs>
            <a:gs pos="33000">
              <a:schemeClr val="accent6">
                <a:lumMod val="60000"/>
                <a:lumOff val="40000"/>
              </a:schemeClr>
            </a:gs>
            <a:gs pos="46750">
              <a:schemeClr val="accent6">
                <a:lumMod val="20000"/>
                <a:lumOff val="80000"/>
              </a:schemeClr>
            </a:gs>
            <a:gs pos="53000">
              <a:schemeClr val="accent6">
                <a:lumMod val="20000"/>
                <a:lumOff val="80000"/>
              </a:schemeClr>
            </a:gs>
            <a:gs pos="68000">
              <a:schemeClr val="accent6">
                <a:lumMod val="60000"/>
                <a:lumOff val="40000"/>
              </a:schemeClr>
            </a:gs>
            <a:gs pos="100000">
              <a:schemeClr val="accent3">
                <a:lumMod val="75000"/>
              </a:schemeClr>
            </a:gs>
          </a:gsLst>
        </a:gradFill>
      </dgm:spPr>
      <dgm:t>
        <a:bodyPr/>
        <a:lstStyle/>
        <a:p>
          <a:endParaRPr lang="en-US"/>
        </a:p>
      </dgm:t>
    </dgm:pt>
    <dgm:pt modelId="{55A728B8-610E-4A24-A26E-6479C13C1191}" type="pres">
      <dgm:prSet presAssocID="{3ED9A76B-0A15-42BF-B1DA-C4D27704E403}" presName="points" presStyleCnt="0"/>
      <dgm:spPr/>
    </dgm:pt>
    <dgm:pt modelId="{7CBC14E4-8038-4AC8-AE1C-86B59F532167}" type="pres">
      <dgm:prSet presAssocID="{F8FB3993-906C-4782-9958-1B84AA5418B1}" presName="compositeA" presStyleCnt="0"/>
      <dgm:spPr/>
    </dgm:pt>
    <dgm:pt modelId="{AD5BD37C-ACC8-49DD-B91E-D310BB587523}" type="pres">
      <dgm:prSet presAssocID="{F8FB3993-906C-4782-9958-1B84AA5418B1}" presName="textA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DA16B2C-0BF9-4D27-AD8A-F62D655A5235}" type="pres">
      <dgm:prSet presAssocID="{F8FB3993-906C-4782-9958-1B84AA5418B1}" presName="circleA" presStyleLbl="node1" presStyleIdx="0" presStyleCnt="5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D3125F16-02F5-4405-9FC0-DD609BE164B1}" type="pres">
      <dgm:prSet presAssocID="{F8FB3993-906C-4782-9958-1B84AA5418B1}" presName="spaceA" presStyleCnt="0"/>
      <dgm:spPr/>
    </dgm:pt>
    <dgm:pt modelId="{D0225359-FE5B-4043-953F-CE38CC9FF047}" type="pres">
      <dgm:prSet presAssocID="{98EBAD30-68BC-473F-8561-E4C0C9F1AB79}" presName="space" presStyleCnt="0"/>
      <dgm:spPr/>
    </dgm:pt>
    <dgm:pt modelId="{83B446C8-1985-4EF1-A235-3CD66E2C751C}" type="pres">
      <dgm:prSet presAssocID="{B8E8AAFE-04F9-4556-A967-619E1DDB5752}" presName="compositeB" presStyleCnt="0"/>
      <dgm:spPr/>
    </dgm:pt>
    <dgm:pt modelId="{0EA91B09-25DC-499E-946F-5AA9EC303C15}" type="pres">
      <dgm:prSet presAssocID="{B8E8AAFE-04F9-4556-A967-619E1DDB5752}" presName="text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FD7D1B9-CBDF-4F66-B033-22072B26CE3F}" type="pres">
      <dgm:prSet presAssocID="{B8E8AAFE-04F9-4556-A967-619E1DDB5752}" presName="circleB" presStyleLbl="node1" presStyleIdx="1" presStyleCnt="5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E0BF7E3F-E044-4009-AE66-56AA1E25C859}" type="pres">
      <dgm:prSet presAssocID="{B8E8AAFE-04F9-4556-A967-619E1DDB5752}" presName="spaceB" presStyleCnt="0"/>
      <dgm:spPr/>
    </dgm:pt>
    <dgm:pt modelId="{68EAE898-C387-4DFF-8E65-04D641C7835A}" type="pres">
      <dgm:prSet presAssocID="{CAEF5C01-3022-4509-B814-FFCE6795638F}" presName="space" presStyleCnt="0"/>
      <dgm:spPr/>
    </dgm:pt>
    <dgm:pt modelId="{0867C267-F33A-4370-8B8A-6DA9141E3CC2}" type="pres">
      <dgm:prSet presAssocID="{A6B0BC1D-EE6E-45AF-A02C-C4655531CC82}" presName="compositeA" presStyleCnt="0"/>
      <dgm:spPr/>
    </dgm:pt>
    <dgm:pt modelId="{FDE6B6B1-B034-41E7-B3FC-BE1805A89716}" type="pres">
      <dgm:prSet presAssocID="{A6B0BC1D-EE6E-45AF-A02C-C4655531CC82}" presName="textA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2837ADB-C12D-40C4-8020-386ADE42EDC2}" type="pres">
      <dgm:prSet presAssocID="{A6B0BC1D-EE6E-45AF-A02C-C4655531CC82}" presName="circleA" presStyleLbl="node1" presStyleIdx="2" presStyleCnt="5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B74EE004-F248-408A-934D-9464CAE396E7}" type="pres">
      <dgm:prSet presAssocID="{A6B0BC1D-EE6E-45AF-A02C-C4655531CC82}" presName="spaceA" presStyleCnt="0"/>
      <dgm:spPr/>
    </dgm:pt>
    <dgm:pt modelId="{2B120B41-637D-4310-8EF9-C72A8201504F}" type="pres">
      <dgm:prSet presAssocID="{2D2B143B-2BE5-403F-A4F1-116DB7732F9B}" presName="space" presStyleCnt="0"/>
      <dgm:spPr/>
    </dgm:pt>
    <dgm:pt modelId="{03209C01-D97E-4BF2-A3C3-DD97EF59098F}" type="pres">
      <dgm:prSet presAssocID="{48999669-2EFC-4125-A204-0BB3B65D5301}" presName="compositeB" presStyleCnt="0"/>
      <dgm:spPr/>
    </dgm:pt>
    <dgm:pt modelId="{0069FE7B-F518-4C9B-8FDE-DC2884BCDC22}" type="pres">
      <dgm:prSet presAssocID="{48999669-2EFC-4125-A204-0BB3B65D5301}" presName="textB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81BC59B-1EA6-415B-9387-0A89F037F60E}" type="pres">
      <dgm:prSet presAssocID="{48999669-2EFC-4125-A204-0BB3B65D5301}" presName="circleB" presStyleLbl="node1" presStyleIdx="3" presStyleCnt="5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43ECFAE6-40A5-42E4-B3D8-893488BB3C2A}" type="pres">
      <dgm:prSet presAssocID="{48999669-2EFC-4125-A204-0BB3B65D5301}" presName="spaceB" presStyleCnt="0"/>
      <dgm:spPr/>
    </dgm:pt>
    <dgm:pt modelId="{469A89DA-12B9-4E9C-99BC-7E0CC6DB8824}" type="pres">
      <dgm:prSet presAssocID="{FCCE3965-3DE9-4413-9F38-47D6E3CFD965}" presName="space" presStyleCnt="0"/>
      <dgm:spPr/>
    </dgm:pt>
    <dgm:pt modelId="{89BEC3FA-75A3-4000-8DA1-9022E0C618AB}" type="pres">
      <dgm:prSet presAssocID="{F5B0E824-7496-4A82-8D97-C8F02B8B9294}" presName="compositeA" presStyleCnt="0"/>
      <dgm:spPr/>
    </dgm:pt>
    <dgm:pt modelId="{E6C9CFA0-DCBA-4ADF-A885-4657A515EDDD}" type="pres">
      <dgm:prSet presAssocID="{F5B0E824-7496-4A82-8D97-C8F02B8B9294}" presName="textA" presStyleLbl="revTx" presStyleIdx="4" presStyleCnt="5" custScaleX="11300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56E9834-6E34-44A7-9B3D-1D9E4D464D36}" type="pres">
      <dgm:prSet presAssocID="{F5B0E824-7496-4A82-8D97-C8F02B8B9294}" presName="circleA" presStyleLbl="node1" presStyleIdx="4" presStyleCnt="5"/>
      <dgm:spPr>
        <a:ln>
          <a:solidFill>
            <a:schemeClr val="accent3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AE984B4F-5DE3-4AC7-B697-614E894C21DE}" type="pres">
      <dgm:prSet presAssocID="{F5B0E824-7496-4A82-8D97-C8F02B8B9294}" presName="spaceA" presStyleCnt="0"/>
      <dgm:spPr/>
    </dgm:pt>
  </dgm:ptLst>
  <dgm:cxnLst>
    <dgm:cxn modelId="{7E7BFCFA-9DBB-4E57-B680-7E6685D6D333}" srcId="{3ED9A76B-0A15-42BF-B1DA-C4D27704E403}" destId="{F8FB3993-906C-4782-9958-1B84AA5418B1}" srcOrd="0" destOrd="0" parTransId="{9A521399-4C95-47B7-B22C-62284F60345D}" sibTransId="{98EBAD30-68BC-473F-8561-E4C0C9F1AB79}"/>
    <dgm:cxn modelId="{B09E6FE5-5E3C-41AA-A40D-46ECF66C758D}" type="presOf" srcId="{B8E8AAFE-04F9-4556-A967-619E1DDB5752}" destId="{0EA91B09-25DC-499E-946F-5AA9EC303C15}" srcOrd="0" destOrd="0" presId="urn:microsoft.com/office/officeart/2005/8/layout/hProcess11"/>
    <dgm:cxn modelId="{3028A704-0637-4ED9-B4B1-2576FFA6AB80}" srcId="{3ED9A76B-0A15-42BF-B1DA-C4D27704E403}" destId="{B8E8AAFE-04F9-4556-A967-619E1DDB5752}" srcOrd="1" destOrd="0" parTransId="{6734A6A0-0587-4C80-A6B8-37B327078381}" sibTransId="{CAEF5C01-3022-4509-B814-FFCE6795638F}"/>
    <dgm:cxn modelId="{A8C27B0C-6801-4C48-BA8D-A8E4FEE430F3}" type="presOf" srcId="{F8FB3993-906C-4782-9958-1B84AA5418B1}" destId="{AD5BD37C-ACC8-49DD-B91E-D310BB587523}" srcOrd="0" destOrd="0" presId="urn:microsoft.com/office/officeart/2005/8/layout/hProcess11"/>
    <dgm:cxn modelId="{0E718D59-A9EE-4F33-8F63-1D9B2C4FE984}" type="presOf" srcId="{A6B0BC1D-EE6E-45AF-A02C-C4655531CC82}" destId="{FDE6B6B1-B034-41E7-B3FC-BE1805A89716}" srcOrd="0" destOrd="0" presId="urn:microsoft.com/office/officeart/2005/8/layout/hProcess11"/>
    <dgm:cxn modelId="{2E94C412-AFB1-4D98-897C-C35CF1CD225E}" type="presOf" srcId="{3ED9A76B-0A15-42BF-B1DA-C4D27704E403}" destId="{84C8BEAA-890B-4454-A6E5-A3715C3937C6}" srcOrd="0" destOrd="0" presId="urn:microsoft.com/office/officeart/2005/8/layout/hProcess11"/>
    <dgm:cxn modelId="{A1168444-9DD1-4FBC-9016-913A6CE7A89F}" type="presOf" srcId="{F5B0E824-7496-4A82-8D97-C8F02B8B9294}" destId="{E6C9CFA0-DCBA-4ADF-A885-4657A515EDDD}" srcOrd="0" destOrd="0" presId="urn:microsoft.com/office/officeart/2005/8/layout/hProcess11"/>
    <dgm:cxn modelId="{ED308A46-5C10-4928-9AC5-60B1EC476D90}" srcId="{3ED9A76B-0A15-42BF-B1DA-C4D27704E403}" destId="{F5B0E824-7496-4A82-8D97-C8F02B8B9294}" srcOrd="4" destOrd="0" parTransId="{BB95F89F-424D-4F79-B35F-7D8DB0A4098E}" sibTransId="{774EEA33-B43B-46EC-A132-BE3863C313CF}"/>
    <dgm:cxn modelId="{2FAEB721-8546-4047-8FF2-87BC51EED41E}" srcId="{3ED9A76B-0A15-42BF-B1DA-C4D27704E403}" destId="{A6B0BC1D-EE6E-45AF-A02C-C4655531CC82}" srcOrd="2" destOrd="0" parTransId="{A1627861-C3E9-475A-9B59-426B18CB699E}" sibTransId="{2D2B143B-2BE5-403F-A4F1-116DB7732F9B}"/>
    <dgm:cxn modelId="{6155C150-6842-447E-82B9-CFB0C9ACAA04}" srcId="{3ED9A76B-0A15-42BF-B1DA-C4D27704E403}" destId="{48999669-2EFC-4125-A204-0BB3B65D5301}" srcOrd="3" destOrd="0" parTransId="{F2BA8995-8123-4EEA-BF79-3812501ED455}" sibTransId="{FCCE3965-3DE9-4413-9F38-47D6E3CFD965}"/>
    <dgm:cxn modelId="{C980C2EC-4B31-4DD7-B24D-6C8702B25B41}" type="presOf" srcId="{48999669-2EFC-4125-A204-0BB3B65D5301}" destId="{0069FE7B-F518-4C9B-8FDE-DC2884BCDC22}" srcOrd="0" destOrd="0" presId="urn:microsoft.com/office/officeart/2005/8/layout/hProcess11"/>
    <dgm:cxn modelId="{24E2C44D-0D80-476E-9200-83703E7ACC26}" type="presParOf" srcId="{84C8BEAA-890B-4454-A6E5-A3715C3937C6}" destId="{10653CD0-2647-4A58-A448-892C1D9CB652}" srcOrd="0" destOrd="0" presId="urn:microsoft.com/office/officeart/2005/8/layout/hProcess11"/>
    <dgm:cxn modelId="{6FE8F00E-971C-4365-A934-30252BE4E1B5}" type="presParOf" srcId="{84C8BEAA-890B-4454-A6E5-A3715C3937C6}" destId="{55A728B8-610E-4A24-A26E-6479C13C1191}" srcOrd="1" destOrd="0" presId="urn:microsoft.com/office/officeart/2005/8/layout/hProcess11"/>
    <dgm:cxn modelId="{5747D786-D9C2-47DE-9B01-7A4EF893F262}" type="presParOf" srcId="{55A728B8-610E-4A24-A26E-6479C13C1191}" destId="{7CBC14E4-8038-4AC8-AE1C-86B59F532167}" srcOrd="0" destOrd="0" presId="urn:microsoft.com/office/officeart/2005/8/layout/hProcess11"/>
    <dgm:cxn modelId="{6198FA4C-0606-439F-AB67-1E1BCB1DFF8E}" type="presParOf" srcId="{7CBC14E4-8038-4AC8-AE1C-86B59F532167}" destId="{AD5BD37C-ACC8-49DD-B91E-D310BB587523}" srcOrd="0" destOrd="0" presId="urn:microsoft.com/office/officeart/2005/8/layout/hProcess11"/>
    <dgm:cxn modelId="{D3C4CB04-B839-4C75-91CA-F6DEA05465F6}" type="presParOf" srcId="{7CBC14E4-8038-4AC8-AE1C-86B59F532167}" destId="{8DA16B2C-0BF9-4D27-AD8A-F62D655A5235}" srcOrd="1" destOrd="0" presId="urn:microsoft.com/office/officeart/2005/8/layout/hProcess11"/>
    <dgm:cxn modelId="{D88DB72E-C439-4D9A-9FDA-EA562BD4AA4E}" type="presParOf" srcId="{7CBC14E4-8038-4AC8-AE1C-86B59F532167}" destId="{D3125F16-02F5-4405-9FC0-DD609BE164B1}" srcOrd="2" destOrd="0" presId="urn:microsoft.com/office/officeart/2005/8/layout/hProcess11"/>
    <dgm:cxn modelId="{5FBA6F65-AACD-47FA-BAAE-48EFE8A20377}" type="presParOf" srcId="{55A728B8-610E-4A24-A26E-6479C13C1191}" destId="{D0225359-FE5B-4043-953F-CE38CC9FF047}" srcOrd="1" destOrd="0" presId="urn:microsoft.com/office/officeart/2005/8/layout/hProcess11"/>
    <dgm:cxn modelId="{6392A3E4-6CA8-49AC-B993-A621C54DF2FF}" type="presParOf" srcId="{55A728B8-610E-4A24-A26E-6479C13C1191}" destId="{83B446C8-1985-4EF1-A235-3CD66E2C751C}" srcOrd="2" destOrd="0" presId="urn:microsoft.com/office/officeart/2005/8/layout/hProcess11"/>
    <dgm:cxn modelId="{76344415-84A7-4AD7-BFE0-03F374E5FBB5}" type="presParOf" srcId="{83B446C8-1985-4EF1-A235-3CD66E2C751C}" destId="{0EA91B09-25DC-499E-946F-5AA9EC303C15}" srcOrd="0" destOrd="0" presId="urn:microsoft.com/office/officeart/2005/8/layout/hProcess11"/>
    <dgm:cxn modelId="{CF6C95A9-511C-4BB4-B811-E3376E5240D2}" type="presParOf" srcId="{83B446C8-1985-4EF1-A235-3CD66E2C751C}" destId="{DFD7D1B9-CBDF-4F66-B033-22072B26CE3F}" srcOrd="1" destOrd="0" presId="urn:microsoft.com/office/officeart/2005/8/layout/hProcess11"/>
    <dgm:cxn modelId="{1CBA3811-E340-4EED-A7D7-4238B253DDF1}" type="presParOf" srcId="{83B446C8-1985-4EF1-A235-3CD66E2C751C}" destId="{E0BF7E3F-E044-4009-AE66-56AA1E25C859}" srcOrd="2" destOrd="0" presId="urn:microsoft.com/office/officeart/2005/8/layout/hProcess11"/>
    <dgm:cxn modelId="{2638F301-B843-4D38-BEAC-4AA3A3CF3E2D}" type="presParOf" srcId="{55A728B8-610E-4A24-A26E-6479C13C1191}" destId="{68EAE898-C387-4DFF-8E65-04D641C7835A}" srcOrd="3" destOrd="0" presId="urn:microsoft.com/office/officeart/2005/8/layout/hProcess11"/>
    <dgm:cxn modelId="{A33FD994-563A-4EC5-9D8C-BE83AE3C984D}" type="presParOf" srcId="{55A728B8-610E-4A24-A26E-6479C13C1191}" destId="{0867C267-F33A-4370-8B8A-6DA9141E3CC2}" srcOrd="4" destOrd="0" presId="urn:microsoft.com/office/officeart/2005/8/layout/hProcess11"/>
    <dgm:cxn modelId="{CFBD37FF-C163-4F77-A974-586FFA0BE1CE}" type="presParOf" srcId="{0867C267-F33A-4370-8B8A-6DA9141E3CC2}" destId="{FDE6B6B1-B034-41E7-B3FC-BE1805A89716}" srcOrd="0" destOrd="0" presId="urn:microsoft.com/office/officeart/2005/8/layout/hProcess11"/>
    <dgm:cxn modelId="{97CEA3D6-4201-4D9F-A772-11283F897B07}" type="presParOf" srcId="{0867C267-F33A-4370-8B8A-6DA9141E3CC2}" destId="{62837ADB-C12D-40C4-8020-386ADE42EDC2}" srcOrd="1" destOrd="0" presId="urn:microsoft.com/office/officeart/2005/8/layout/hProcess11"/>
    <dgm:cxn modelId="{2A3A4643-742A-4933-A187-0484454CCF48}" type="presParOf" srcId="{0867C267-F33A-4370-8B8A-6DA9141E3CC2}" destId="{B74EE004-F248-408A-934D-9464CAE396E7}" srcOrd="2" destOrd="0" presId="urn:microsoft.com/office/officeart/2005/8/layout/hProcess11"/>
    <dgm:cxn modelId="{1CE4E9E1-F4E7-4158-9468-CA0358935DE9}" type="presParOf" srcId="{55A728B8-610E-4A24-A26E-6479C13C1191}" destId="{2B120B41-637D-4310-8EF9-C72A8201504F}" srcOrd="5" destOrd="0" presId="urn:microsoft.com/office/officeart/2005/8/layout/hProcess11"/>
    <dgm:cxn modelId="{C411417F-3DF6-46FC-BA69-74D30973F6C8}" type="presParOf" srcId="{55A728B8-610E-4A24-A26E-6479C13C1191}" destId="{03209C01-D97E-4BF2-A3C3-DD97EF59098F}" srcOrd="6" destOrd="0" presId="urn:microsoft.com/office/officeart/2005/8/layout/hProcess11"/>
    <dgm:cxn modelId="{A5C196F3-A176-4FC5-8C2B-B47CB6B3B4A3}" type="presParOf" srcId="{03209C01-D97E-4BF2-A3C3-DD97EF59098F}" destId="{0069FE7B-F518-4C9B-8FDE-DC2884BCDC22}" srcOrd="0" destOrd="0" presId="urn:microsoft.com/office/officeart/2005/8/layout/hProcess11"/>
    <dgm:cxn modelId="{0E037F72-0F60-4F30-A149-3A400C946EC7}" type="presParOf" srcId="{03209C01-D97E-4BF2-A3C3-DD97EF59098F}" destId="{B81BC59B-1EA6-415B-9387-0A89F037F60E}" srcOrd="1" destOrd="0" presId="urn:microsoft.com/office/officeart/2005/8/layout/hProcess11"/>
    <dgm:cxn modelId="{AD9FDF43-C2E4-4771-8581-B9EBD14A066A}" type="presParOf" srcId="{03209C01-D97E-4BF2-A3C3-DD97EF59098F}" destId="{43ECFAE6-40A5-42E4-B3D8-893488BB3C2A}" srcOrd="2" destOrd="0" presId="urn:microsoft.com/office/officeart/2005/8/layout/hProcess11"/>
    <dgm:cxn modelId="{FE3674F8-B434-4F0B-BA8B-86223A157324}" type="presParOf" srcId="{55A728B8-610E-4A24-A26E-6479C13C1191}" destId="{469A89DA-12B9-4E9C-99BC-7E0CC6DB8824}" srcOrd="7" destOrd="0" presId="urn:microsoft.com/office/officeart/2005/8/layout/hProcess11"/>
    <dgm:cxn modelId="{90CA3822-9A4A-47E2-8F13-A99239A783B8}" type="presParOf" srcId="{55A728B8-610E-4A24-A26E-6479C13C1191}" destId="{89BEC3FA-75A3-4000-8DA1-9022E0C618AB}" srcOrd="8" destOrd="0" presId="urn:microsoft.com/office/officeart/2005/8/layout/hProcess11"/>
    <dgm:cxn modelId="{1378CA78-CF9D-453D-B250-AF85A4213DEE}" type="presParOf" srcId="{89BEC3FA-75A3-4000-8DA1-9022E0C618AB}" destId="{E6C9CFA0-DCBA-4ADF-A885-4657A515EDDD}" srcOrd="0" destOrd="0" presId="urn:microsoft.com/office/officeart/2005/8/layout/hProcess11"/>
    <dgm:cxn modelId="{8D1B378E-7F56-4F6F-8C7F-6BAFF5CE9015}" type="presParOf" srcId="{89BEC3FA-75A3-4000-8DA1-9022E0C618AB}" destId="{E56E9834-6E34-44A7-9B3D-1D9E4D464D36}" srcOrd="1" destOrd="0" presId="urn:microsoft.com/office/officeart/2005/8/layout/hProcess11"/>
    <dgm:cxn modelId="{DE953AC9-2192-4DF3-9AF5-4882BD7EA024}" type="presParOf" srcId="{89BEC3FA-75A3-4000-8DA1-9022E0C618AB}" destId="{AE984B4F-5DE3-4AC7-B697-614E894C21DE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7C114BB-490C-4528-90E4-31AC3029AC18}" type="doc">
      <dgm:prSet loTypeId="urn:microsoft.com/office/officeart/2005/8/layout/equation1" loCatId="process" qsTypeId="urn:microsoft.com/office/officeart/2005/8/quickstyle/simple2" qsCatId="simple" csTypeId="urn:microsoft.com/office/officeart/2005/8/colors/accent1_1" csCatId="accent1" phldr="1"/>
      <dgm:spPr/>
    </dgm:pt>
    <dgm:pt modelId="{89E0B022-DB86-4192-827C-12BA8817D39A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strike="noStrike" baseline="0" dirty="0" smtClean="0"/>
            <a:t>ВЛА – 1</a:t>
          </a:r>
          <a:endParaRPr lang="en-US" strike="noStrike" baseline="0" dirty="0"/>
        </a:p>
      </dgm:t>
    </dgm:pt>
    <dgm:pt modelId="{DFAE5385-2602-4FB1-8E92-E03DEF6E4E7D}" type="parTrans" cxnId="{928E4A77-350E-459A-8D6D-63FA69A94D2B}">
      <dgm:prSet/>
      <dgm:spPr/>
      <dgm:t>
        <a:bodyPr/>
        <a:lstStyle/>
        <a:p>
          <a:endParaRPr lang="en-US" strike="noStrike" baseline="0"/>
        </a:p>
      </dgm:t>
    </dgm:pt>
    <dgm:pt modelId="{6F153E00-04B6-4565-B5E2-4204166FC95D}" type="sibTrans" cxnId="{928E4A77-350E-459A-8D6D-63FA69A94D2B}">
      <dgm:prSet/>
      <dgm:spPr>
        <a:solidFill>
          <a:srgbClr val="E94952"/>
        </a:solidFill>
        <a:ln>
          <a:solidFill>
            <a:srgbClr val="E94952"/>
          </a:solidFill>
        </a:ln>
        <a:effectLst/>
      </dgm:spPr>
      <dgm:t>
        <a:bodyPr/>
        <a:lstStyle/>
        <a:p>
          <a:endParaRPr lang="en-US" strike="noStrike" baseline="0"/>
        </a:p>
      </dgm:t>
    </dgm:pt>
    <dgm:pt modelId="{1515922A-D989-446F-B622-1BCA1E8BBF2A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strike="noStrike" baseline="0" dirty="0" smtClean="0"/>
            <a:t>ВЛА-2Б</a:t>
          </a:r>
          <a:endParaRPr lang="en-US" strike="noStrike" baseline="0" dirty="0"/>
        </a:p>
      </dgm:t>
    </dgm:pt>
    <dgm:pt modelId="{7F071808-3BA4-4A00-AC44-DFA51CC4DF00}" type="parTrans" cxnId="{1BF91B1B-1AD5-4ED4-87B3-08A3D5EDF382}">
      <dgm:prSet/>
      <dgm:spPr/>
      <dgm:t>
        <a:bodyPr/>
        <a:lstStyle/>
        <a:p>
          <a:endParaRPr lang="en-US" strike="noStrike" baseline="0"/>
        </a:p>
      </dgm:t>
    </dgm:pt>
    <dgm:pt modelId="{5DC80E87-8B2D-42E6-A095-3BA3A3322D4B}" type="sibTrans" cxnId="{1BF91B1B-1AD5-4ED4-87B3-08A3D5EDF382}">
      <dgm:prSet/>
      <dgm:spPr>
        <a:solidFill>
          <a:srgbClr val="E94952"/>
        </a:solidFill>
        <a:ln>
          <a:solidFill>
            <a:srgbClr val="E94952"/>
          </a:solidFill>
        </a:ln>
        <a:effectLst/>
      </dgm:spPr>
      <dgm:t>
        <a:bodyPr/>
        <a:lstStyle/>
        <a:p>
          <a:endParaRPr lang="en-US" strike="noStrike" baseline="0"/>
        </a:p>
      </dgm:t>
    </dgm:pt>
    <dgm:pt modelId="{EDF27D49-923A-4F2A-A190-12806289CE3E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en-US" strike="noStrike" baseline="0" dirty="0" smtClean="0"/>
            <a:t>HQLA</a:t>
          </a:r>
          <a:endParaRPr lang="en-US" strike="noStrike" baseline="0" dirty="0"/>
        </a:p>
      </dgm:t>
    </dgm:pt>
    <dgm:pt modelId="{1726E0BA-70B9-4795-BBFA-EE348F798798}" type="parTrans" cxnId="{598D1DFF-59E5-4163-95FE-EE81090B9B84}">
      <dgm:prSet/>
      <dgm:spPr/>
      <dgm:t>
        <a:bodyPr/>
        <a:lstStyle/>
        <a:p>
          <a:endParaRPr lang="en-US" strike="noStrike" baseline="0"/>
        </a:p>
      </dgm:t>
    </dgm:pt>
    <dgm:pt modelId="{CF3F11E1-1BAA-4633-8427-147204191F6B}" type="sibTrans" cxnId="{598D1DFF-59E5-4163-95FE-EE81090B9B84}">
      <dgm:prSet/>
      <dgm:spPr/>
      <dgm:t>
        <a:bodyPr/>
        <a:lstStyle/>
        <a:p>
          <a:endParaRPr lang="en-US" strike="noStrike" baseline="0"/>
        </a:p>
      </dgm:t>
    </dgm:pt>
    <dgm:pt modelId="{28DD0A15-5E9A-44AF-AD36-E54D7249563F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strike="noStrike" baseline="0" dirty="0" smtClean="0"/>
            <a:t>ВК</a:t>
          </a:r>
          <a:endParaRPr lang="en-US" strike="noStrike" baseline="0" dirty="0"/>
        </a:p>
      </dgm:t>
    </dgm:pt>
    <dgm:pt modelId="{87AC1592-67B4-450F-9893-8F2680525C7C}" type="parTrans" cxnId="{EC964BFD-677A-4C22-BACF-4108E28FF771}">
      <dgm:prSet/>
      <dgm:spPr/>
      <dgm:t>
        <a:bodyPr/>
        <a:lstStyle/>
        <a:p>
          <a:endParaRPr lang="en-US" strike="noStrike" baseline="0"/>
        </a:p>
      </dgm:t>
    </dgm:pt>
    <dgm:pt modelId="{B4B772F8-A57C-4FAD-B1F1-46172CF7944F}" type="sibTrans" cxnId="{EC964BFD-677A-4C22-BACF-4108E28FF771}">
      <dgm:prSet/>
      <dgm:spPr>
        <a:solidFill>
          <a:srgbClr val="E94952"/>
        </a:solidFill>
        <a:ln>
          <a:solidFill>
            <a:srgbClr val="E94952"/>
          </a:solidFill>
        </a:ln>
        <a:effectLst/>
      </dgm:spPr>
      <dgm:t>
        <a:bodyPr/>
        <a:lstStyle/>
        <a:p>
          <a:endParaRPr lang="en-US" strike="noStrike" baseline="0"/>
        </a:p>
      </dgm:t>
    </dgm:pt>
    <dgm:pt modelId="{C38176BA-527A-4464-BBC9-0B9A6A0095B5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strike="noStrike" baseline="0" dirty="0" smtClean="0"/>
            <a:t>ВЛА-2А</a:t>
          </a:r>
          <a:endParaRPr lang="en-US" strike="noStrike" baseline="0" dirty="0"/>
        </a:p>
      </dgm:t>
    </dgm:pt>
    <dgm:pt modelId="{85D391C7-B3F6-4FC1-B107-47373A81F0FF}" type="parTrans" cxnId="{BE7074D5-1A17-4BDB-A8F1-AD4CFFED3D8F}">
      <dgm:prSet/>
      <dgm:spPr/>
      <dgm:t>
        <a:bodyPr/>
        <a:lstStyle/>
        <a:p>
          <a:endParaRPr lang="en-US"/>
        </a:p>
      </dgm:t>
    </dgm:pt>
    <dgm:pt modelId="{2CF113D8-E76F-44C8-ABB7-64C32C910786}" type="sibTrans" cxnId="{BE7074D5-1A17-4BDB-A8F1-AD4CFFED3D8F}">
      <dgm:prSet/>
      <dgm:spPr>
        <a:solidFill>
          <a:schemeClr val="accent3">
            <a:lumMod val="75000"/>
          </a:schemeClr>
        </a:solidFill>
        <a:effectLst/>
      </dgm:spPr>
      <dgm:t>
        <a:bodyPr/>
        <a:lstStyle/>
        <a:p>
          <a:endParaRPr lang="en-US"/>
        </a:p>
      </dgm:t>
    </dgm:pt>
    <dgm:pt modelId="{5FDA6EA3-811A-4E3A-9A8E-2E154690FDC2}" type="pres">
      <dgm:prSet presAssocID="{47C114BB-490C-4528-90E4-31AC3029AC18}" presName="linearFlow" presStyleCnt="0">
        <dgm:presLayoutVars>
          <dgm:dir/>
          <dgm:resizeHandles val="exact"/>
        </dgm:presLayoutVars>
      </dgm:prSet>
      <dgm:spPr/>
    </dgm:pt>
    <dgm:pt modelId="{3379681A-BC18-470D-BCAC-98FFC284899F}" type="pres">
      <dgm:prSet presAssocID="{89E0B022-DB86-4192-827C-12BA8817D39A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8A5912-EE62-4F55-AC0B-10D44AFD9A15}" type="pres">
      <dgm:prSet presAssocID="{6F153E00-04B6-4565-B5E2-4204166FC95D}" presName="spacerL" presStyleCnt="0"/>
      <dgm:spPr/>
    </dgm:pt>
    <dgm:pt modelId="{28E19084-3D61-4A06-81AF-B6248C495B69}" type="pres">
      <dgm:prSet presAssocID="{6F153E00-04B6-4565-B5E2-4204166FC95D}" presName="sibTrans" presStyleLbl="sibTrans2D1" presStyleIdx="0" presStyleCnt="4"/>
      <dgm:spPr/>
      <dgm:t>
        <a:bodyPr/>
        <a:lstStyle/>
        <a:p>
          <a:endParaRPr lang="en-US"/>
        </a:p>
      </dgm:t>
    </dgm:pt>
    <dgm:pt modelId="{E0CBB569-F5CE-463E-A64F-125A07062DA8}" type="pres">
      <dgm:prSet presAssocID="{6F153E00-04B6-4565-B5E2-4204166FC95D}" presName="spacerR" presStyleCnt="0"/>
      <dgm:spPr/>
    </dgm:pt>
    <dgm:pt modelId="{F8F31D42-1C2F-4B4D-AF73-046211C58D04}" type="pres">
      <dgm:prSet presAssocID="{C38176BA-527A-4464-BBC9-0B9A6A0095B5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11BA19-BCF5-4279-BF67-EE893DFB127F}" type="pres">
      <dgm:prSet presAssocID="{2CF113D8-E76F-44C8-ABB7-64C32C910786}" presName="spacerL" presStyleCnt="0"/>
      <dgm:spPr/>
    </dgm:pt>
    <dgm:pt modelId="{C516CEA4-20C2-409E-8FF5-ACF026C2B4A7}" type="pres">
      <dgm:prSet presAssocID="{2CF113D8-E76F-44C8-ABB7-64C32C91078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48FCAAEF-24FC-4B55-85BF-5928AD6EA887}" type="pres">
      <dgm:prSet presAssocID="{2CF113D8-E76F-44C8-ABB7-64C32C910786}" presName="spacerR" presStyleCnt="0"/>
      <dgm:spPr/>
    </dgm:pt>
    <dgm:pt modelId="{795D8204-B0C2-4FE0-AB2A-885BD13BF6B4}" type="pres">
      <dgm:prSet presAssocID="{1515922A-D989-446F-B622-1BCA1E8BBF2A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1E137D-030E-4757-A60D-948BC967EDD8}" type="pres">
      <dgm:prSet presAssocID="{5DC80E87-8B2D-42E6-A095-3BA3A3322D4B}" presName="spacerL" presStyleCnt="0"/>
      <dgm:spPr/>
    </dgm:pt>
    <dgm:pt modelId="{881C00A3-4ADB-421B-8E6B-12F8CE193B70}" type="pres">
      <dgm:prSet presAssocID="{5DC80E87-8B2D-42E6-A095-3BA3A3322D4B}" presName="sibTrans" presStyleLbl="sibTrans2D1" presStyleIdx="2" presStyleCnt="4"/>
      <dgm:spPr>
        <a:prstGeom prst="mathMinus">
          <a:avLst/>
        </a:prstGeom>
      </dgm:spPr>
      <dgm:t>
        <a:bodyPr/>
        <a:lstStyle/>
        <a:p>
          <a:endParaRPr lang="en-US"/>
        </a:p>
      </dgm:t>
    </dgm:pt>
    <dgm:pt modelId="{725A55EF-BF09-4F64-BF67-BCB9513E4CEA}" type="pres">
      <dgm:prSet presAssocID="{5DC80E87-8B2D-42E6-A095-3BA3A3322D4B}" presName="spacerR" presStyleCnt="0"/>
      <dgm:spPr/>
    </dgm:pt>
    <dgm:pt modelId="{72345A92-DFCB-4975-B3AA-3BD0A2E2065D}" type="pres">
      <dgm:prSet presAssocID="{28DD0A15-5E9A-44AF-AD36-E54D7249563F}" presName="node" presStyleLbl="node1" presStyleIdx="3" presStyleCnt="5" custLinFactNeighborX="-56076" custLinFactNeighborY="-268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en-US"/>
        </a:p>
      </dgm:t>
    </dgm:pt>
    <dgm:pt modelId="{788D2698-62E7-4BDC-9729-6FA4C4E56B38}" type="pres">
      <dgm:prSet presAssocID="{B4B772F8-A57C-4FAD-B1F1-46172CF7944F}" presName="spacerL" presStyleCnt="0"/>
      <dgm:spPr/>
    </dgm:pt>
    <dgm:pt modelId="{890EB9CA-AF83-4A7D-BBF8-719285EB9B23}" type="pres">
      <dgm:prSet presAssocID="{B4B772F8-A57C-4FAD-B1F1-46172CF7944F}" presName="sibTrans" presStyleLbl="sibTrans2D1" presStyleIdx="3" presStyleCnt="4"/>
      <dgm:spPr/>
      <dgm:t>
        <a:bodyPr/>
        <a:lstStyle/>
        <a:p>
          <a:endParaRPr lang="en-US"/>
        </a:p>
      </dgm:t>
    </dgm:pt>
    <dgm:pt modelId="{E48A379A-E6E7-43AC-A215-001D6D7E1340}" type="pres">
      <dgm:prSet presAssocID="{B4B772F8-A57C-4FAD-B1F1-46172CF7944F}" presName="spacerR" presStyleCnt="0"/>
      <dgm:spPr/>
    </dgm:pt>
    <dgm:pt modelId="{54DAAFD3-98D6-46A7-8159-84321A95C594}" type="pres">
      <dgm:prSet presAssocID="{EDF27D49-923A-4F2A-A190-12806289CE3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98D1DFF-59E5-4163-95FE-EE81090B9B84}" srcId="{47C114BB-490C-4528-90E4-31AC3029AC18}" destId="{EDF27D49-923A-4F2A-A190-12806289CE3E}" srcOrd="4" destOrd="0" parTransId="{1726E0BA-70B9-4795-BBFA-EE348F798798}" sibTransId="{CF3F11E1-1BAA-4633-8427-147204191F6B}"/>
    <dgm:cxn modelId="{71C2EBB4-4C2F-41A4-9A32-1FB28AAB2F99}" type="presOf" srcId="{EDF27D49-923A-4F2A-A190-12806289CE3E}" destId="{54DAAFD3-98D6-46A7-8159-84321A95C594}" srcOrd="0" destOrd="0" presId="urn:microsoft.com/office/officeart/2005/8/layout/equation1"/>
    <dgm:cxn modelId="{928E4A77-350E-459A-8D6D-63FA69A94D2B}" srcId="{47C114BB-490C-4528-90E4-31AC3029AC18}" destId="{89E0B022-DB86-4192-827C-12BA8817D39A}" srcOrd="0" destOrd="0" parTransId="{DFAE5385-2602-4FB1-8E92-E03DEF6E4E7D}" sibTransId="{6F153E00-04B6-4565-B5E2-4204166FC95D}"/>
    <dgm:cxn modelId="{5C0220D0-5D2D-4B92-B2E2-34EF45D13233}" type="presOf" srcId="{1515922A-D989-446F-B622-1BCA1E8BBF2A}" destId="{795D8204-B0C2-4FE0-AB2A-885BD13BF6B4}" srcOrd="0" destOrd="0" presId="urn:microsoft.com/office/officeart/2005/8/layout/equation1"/>
    <dgm:cxn modelId="{EC964BFD-677A-4C22-BACF-4108E28FF771}" srcId="{47C114BB-490C-4528-90E4-31AC3029AC18}" destId="{28DD0A15-5E9A-44AF-AD36-E54D7249563F}" srcOrd="3" destOrd="0" parTransId="{87AC1592-67B4-450F-9893-8F2680525C7C}" sibTransId="{B4B772F8-A57C-4FAD-B1F1-46172CF7944F}"/>
    <dgm:cxn modelId="{1BF91B1B-1AD5-4ED4-87B3-08A3D5EDF382}" srcId="{47C114BB-490C-4528-90E4-31AC3029AC18}" destId="{1515922A-D989-446F-B622-1BCA1E8BBF2A}" srcOrd="2" destOrd="0" parTransId="{7F071808-3BA4-4A00-AC44-DFA51CC4DF00}" sibTransId="{5DC80E87-8B2D-42E6-A095-3BA3A3322D4B}"/>
    <dgm:cxn modelId="{7F07C06D-55FA-438A-962D-A91800D5D03E}" type="presOf" srcId="{89E0B022-DB86-4192-827C-12BA8817D39A}" destId="{3379681A-BC18-470D-BCAC-98FFC284899F}" srcOrd="0" destOrd="0" presId="urn:microsoft.com/office/officeart/2005/8/layout/equation1"/>
    <dgm:cxn modelId="{BE7074D5-1A17-4BDB-A8F1-AD4CFFED3D8F}" srcId="{47C114BB-490C-4528-90E4-31AC3029AC18}" destId="{C38176BA-527A-4464-BBC9-0B9A6A0095B5}" srcOrd="1" destOrd="0" parTransId="{85D391C7-B3F6-4FC1-B107-47373A81F0FF}" sibTransId="{2CF113D8-E76F-44C8-ABB7-64C32C910786}"/>
    <dgm:cxn modelId="{467B0238-4D74-4B28-8EE7-61C6217EFA16}" type="presOf" srcId="{2CF113D8-E76F-44C8-ABB7-64C32C910786}" destId="{C516CEA4-20C2-409E-8FF5-ACF026C2B4A7}" srcOrd="0" destOrd="0" presId="urn:microsoft.com/office/officeart/2005/8/layout/equation1"/>
    <dgm:cxn modelId="{A93F20A5-FD28-48EB-8A45-FD2BC6670F0A}" type="presOf" srcId="{47C114BB-490C-4528-90E4-31AC3029AC18}" destId="{5FDA6EA3-811A-4E3A-9A8E-2E154690FDC2}" srcOrd="0" destOrd="0" presId="urn:microsoft.com/office/officeart/2005/8/layout/equation1"/>
    <dgm:cxn modelId="{45B3A8A2-2EB2-466B-B2A9-2B401BC06CC9}" type="presOf" srcId="{28DD0A15-5E9A-44AF-AD36-E54D7249563F}" destId="{72345A92-DFCB-4975-B3AA-3BD0A2E2065D}" srcOrd="0" destOrd="0" presId="urn:microsoft.com/office/officeart/2005/8/layout/equation1"/>
    <dgm:cxn modelId="{6B670C1D-F0E1-4DC3-A9CD-A2E97A5CFF96}" type="presOf" srcId="{5DC80E87-8B2D-42E6-A095-3BA3A3322D4B}" destId="{881C00A3-4ADB-421B-8E6B-12F8CE193B70}" srcOrd="0" destOrd="0" presId="urn:microsoft.com/office/officeart/2005/8/layout/equation1"/>
    <dgm:cxn modelId="{7845CE63-7C5C-44E8-9019-64BC391E17C3}" type="presOf" srcId="{C38176BA-527A-4464-BBC9-0B9A6A0095B5}" destId="{F8F31D42-1C2F-4B4D-AF73-046211C58D04}" srcOrd="0" destOrd="0" presId="urn:microsoft.com/office/officeart/2005/8/layout/equation1"/>
    <dgm:cxn modelId="{5777921F-4AC6-4C56-A8D9-4EC29E8C4574}" type="presOf" srcId="{6F153E00-04B6-4565-B5E2-4204166FC95D}" destId="{28E19084-3D61-4A06-81AF-B6248C495B69}" srcOrd="0" destOrd="0" presId="urn:microsoft.com/office/officeart/2005/8/layout/equation1"/>
    <dgm:cxn modelId="{1D1FF8D6-3A49-4B92-BFB1-2A43650A05F8}" type="presOf" srcId="{B4B772F8-A57C-4FAD-B1F1-46172CF7944F}" destId="{890EB9CA-AF83-4A7D-BBF8-719285EB9B23}" srcOrd="0" destOrd="0" presId="urn:microsoft.com/office/officeart/2005/8/layout/equation1"/>
    <dgm:cxn modelId="{4D898F99-8FF8-42FF-AAE4-6036F51B722B}" type="presParOf" srcId="{5FDA6EA3-811A-4E3A-9A8E-2E154690FDC2}" destId="{3379681A-BC18-470D-BCAC-98FFC284899F}" srcOrd="0" destOrd="0" presId="urn:microsoft.com/office/officeart/2005/8/layout/equation1"/>
    <dgm:cxn modelId="{ACFE3D9C-9D23-4527-90FB-9D58D1DECDA5}" type="presParOf" srcId="{5FDA6EA3-811A-4E3A-9A8E-2E154690FDC2}" destId="{588A5912-EE62-4F55-AC0B-10D44AFD9A15}" srcOrd="1" destOrd="0" presId="urn:microsoft.com/office/officeart/2005/8/layout/equation1"/>
    <dgm:cxn modelId="{BDB9E3AB-0DCA-48A9-B3AF-89CAAA07331C}" type="presParOf" srcId="{5FDA6EA3-811A-4E3A-9A8E-2E154690FDC2}" destId="{28E19084-3D61-4A06-81AF-B6248C495B69}" srcOrd="2" destOrd="0" presId="urn:microsoft.com/office/officeart/2005/8/layout/equation1"/>
    <dgm:cxn modelId="{6793CDB7-B0BD-4284-9920-F887D750ACE6}" type="presParOf" srcId="{5FDA6EA3-811A-4E3A-9A8E-2E154690FDC2}" destId="{E0CBB569-F5CE-463E-A64F-125A07062DA8}" srcOrd="3" destOrd="0" presId="urn:microsoft.com/office/officeart/2005/8/layout/equation1"/>
    <dgm:cxn modelId="{E1DEC1D6-FC08-4429-8DC2-24FC1EA077D7}" type="presParOf" srcId="{5FDA6EA3-811A-4E3A-9A8E-2E154690FDC2}" destId="{F8F31D42-1C2F-4B4D-AF73-046211C58D04}" srcOrd="4" destOrd="0" presId="urn:microsoft.com/office/officeart/2005/8/layout/equation1"/>
    <dgm:cxn modelId="{3A47E2BC-608A-4E86-BA23-44BE6A1BC4A8}" type="presParOf" srcId="{5FDA6EA3-811A-4E3A-9A8E-2E154690FDC2}" destId="{A411BA19-BCF5-4279-BF67-EE893DFB127F}" srcOrd="5" destOrd="0" presId="urn:microsoft.com/office/officeart/2005/8/layout/equation1"/>
    <dgm:cxn modelId="{B0917228-4412-4AC2-9E7E-06A8919B1B40}" type="presParOf" srcId="{5FDA6EA3-811A-4E3A-9A8E-2E154690FDC2}" destId="{C516CEA4-20C2-409E-8FF5-ACF026C2B4A7}" srcOrd="6" destOrd="0" presId="urn:microsoft.com/office/officeart/2005/8/layout/equation1"/>
    <dgm:cxn modelId="{8B5DC652-14B1-4C33-A653-30B5CC9DAE15}" type="presParOf" srcId="{5FDA6EA3-811A-4E3A-9A8E-2E154690FDC2}" destId="{48FCAAEF-24FC-4B55-85BF-5928AD6EA887}" srcOrd="7" destOrd="0" presId="urn:microsoft.com/office/officeart/2005/8/layout/equation1"/>
    <dgm:cxn modelId="{5633B450-3772-45A8-BBFF-2D2F3C16AE0C}" type="presParOf" srcId="{5FDA6EA3-811A-4E3A-9A8E-2E154690FDC2}" destId="{795D8204-B0C2-4FE0-AB2A-885BD13BF6B4}" srcOrd="8" destOrd="0" presId="urn:microsoft.com/office/officeart/2005/8/layout/equation1"/>
    <dgm:cxn modelId="{28A1B754-C0B6-43F3-AD27-A8D17EBCBDF5}" type="presParOf" srcId="{5FDA6EA3-811A-4E3A-9A8E-2E154690FDC2}" destId="{681E137D-030E-4757-A60D-948BC967EDD8}" srcOrd="9" destOrd="0" presId="urn:microsoft.com/office/officeart/2005/8/layout/equation1"/>
    <dgm:cxn modelId="{08B24235-3F90-4D7A-AEBD-557AC071EECB}" type="presParOf" srcId="{5FDA6EA3-811A-4E3A-9A8E-2E154690FDC2}" destId="{881C00A3-4ADB-421B-8E6B-12F8CE193B70}" srcOrd="10" destOrd="0" presId="urn:microsoft.com/office/officeart/2005/8/layout/equation1"/>
    <dgm:cxn modelId="{DB2BAB15-BCF9-41D0-A211-F0412460F8C0}" type="presParOf" srcId="{5FDA6EA3-811A-4E3A-9A8E-2E154690FDC2}" destId="{725A55EF-BF09-4F64-BF67-BCB9513E4CEA}" srcOrd="11" destOrd="0" presId="urn:microsoft.com/office/officeart/2005/8/layout/equation1"/>
    <dgm:cxn modelId="{3057A31E-1820-4485-9EBC-A8681BADD1EF}" type="presParOf" srcId="{5FDA6EA3-811A-4E3A-9A8E-2E154690FDC2}" destId="{72345A92-DFCB-4975-B3AA-3BD0A2E2065D}" srcOrd="12" destOrd="0" presId="urn:microsoft.com/office/officeart/2005/8/layout/equation1"/>
    <dgm:cxn modelId="{6E25D723-0396-40D3-B4B9-3BE1CC47D953}" type="presParOf" srcId="{5FDA6EA3-811A-4E3A-9A8E-2E154690FDC2}" destId="{788D2698-62E7-4BDC-9729-6FA4C4E56B38}" srcOrd="13" destOrd="0" presId="urn:microsoft.com/office/officeart/2005/8/layout/equation1"/>
    <dgm:cxn modelId="{EC0FEE20-2421-4361-8D69-24F941E76130}" type="presParOf" srcId="{5FDA6EA3-811A-4E3A-9A8E-2E154690FDC2}" destId="{890EB9CA-AF83-4A7D-BBF8-719285EB9B23}" srcOrd="14" destOrd="0" presId="urn:microsoft.com/office/officeart/2005/8/layout/equation1"/>
    <dgm:cxn modelId="{462E9D3C-3155-4BBC-9D78-1867D32097A0}" type="presParOf" srcId="{5FDA6EA3-811A-4E3A-9A8E-2E154690FDC2}" destId="{E48A379A-E6E7-43AC-A215-001D6D7E1340}" srcOrd="15" destOrd="0" presId="urn:microsoft.com/office/officeart/2005/8/layout/equation1"/>
    <dgm:cxn modelId="{5E008F11-84E5-4E6D-AFD7-E3FE45AE8F2D}" type="presParOf" srcId="{5FDA6EA3-811A-4E3A-9A8E-2E154690FDC2}" destId="{54DAAFD3-98D6-46A7-8159-84321A95C594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CFAB95-5221-4735-9A41-79FF66ADA11C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</dgm:pt>
    <dgm:pt modelId="{24CD7468-9F0B-4297-9376-678D67B82503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dirty="0" smtClean="0"/>
            <a:t>ООДС (</a:t>
          </a:r>
          <a:r>
            <a:rPr lang="en-US" dirty="0" smtClean="0"/>
            <a:t>outflow)</a:t>
          </a:r>
          <a:endParaRPr lang="en-US" dirty="0"/>
        </a:p>
      </dgm:t>
    </dgm:pt>
    <dgm:pt modelId="{5E0270E5-76BF-485D-896C-EA91DEA717A2}" type="parTrans" cxnId="{FCCCD9DE-241F-47DF-A11D-97DCD74662E3}">
      <dgm:prSet/>
      <dgm:spPr/>
      <dgm:t>
        <a:bodyPr/>
        <a:lstStyle/>
        <a:p>
          <a:endParaRPr lang="en-US"/>
        </a:p>
      </dgm:t>
    </dgm:pt>
    <dgm:pt modelId="{4DF582DE-C598-436B-9578-AB36726E54FF}" type="sibTrans" cxnId="{FCCCD9DE-241F-47DF-A11D-97DCD74662E3}">
      <dgm:prSet/>
      <dgm:spPr>
        <a:solidFill>
          <a:srgbClr val="E94952"/>
        </a:solidFill>
      </dgm:spPr>
      <dgm:t>
        <a:bodyPr/>
        <a:lstStyle/>
        <a:p>
          <a:endParaRPr lang="en-US" dirty="0"/>
        </a:p>
      </dgm:t>
    </dgm:pt>
    <dgm:pt modelId="{63F1C203-03F9-471B-8875-8E93EAA8953D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en-US" dirty="0" smtClean="0"/>
            <a:t>Min (</a:t>
          </a:r>
          <a:r>
            <a:rPr lang="ru-RU" dirty="0" smtClean="0"/>
            <a:t>ОПДС </a:t>
          </a:r>
          <a:r>
            <a:rPr lang="en-US" dirty="0" smtClean="0"/>
            <a:t>(inflows) – 75% </a:t>
          </a:r>
          <a:r>
            <a:rPr lang="ru-RU" dirty="0" smtClean="0"/>
            <a:t>ООДС</a:t>
          </a:r>
          <a:r>
            <a:rPr lang="en-US" dirty="0" smtClean="0"/>
            <a:t>)</a:t>
          </a:r>
          <a:endParaRPr lang="en-US" dirty="0"/>
        </a:p>
      </dgm:t>
    </dgm:pt>
    <dgm:pt modelId="{DB4CF972-3E42-4AA9-855A-6D095CD0B5E1}" type="parTrans" cxnId="{B97943B8-DB7B-4CB7-852F-EAE817EAF594}">
      <dgm:prSet/>
      <dgm:spPr/>
      <dgm:t>
        <a:bodyPr/>
        <a:lstStyle/>
        <a:p>
          <a:endParaRPr lang="en-US"/>
        </a:p>
      </dgm:t>
    </dgm:pt>
    <dgm:pt modelId="{43028226-5CD5-4DE7-A67E-6AD2352071A6}" type="sibTrans" cxnId="{B97943B8-DB7B-4CB7-852F-EAE817EAF594}">
      <dgm:prSet custT="1"/>
      <dgm:spPr>
        <a:solidFill>
          <a:srgbClr val="E94952"/>
        </a:solidFill>
      </dgm:spPr>
      <dgm:t>
        <a:bodyPr/>
        <a:lstStyle/>
        <a:p>
          <a:endParaRPr lang="en-US" sz="700"/>
        </a:p>
      </dgm:t>
    </dgm:pt>
    <dgm:pt modelId="{270B7C9C-3846-4FC3-8940-510DB0DF07EE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dirty="0" smtClean="0"/>
            <a:t>ЧООДС</a:t>
          </a:r>
          <a:endParaRPr lang="en-US" dirty="0"/>
        </a:p>
      </dgm:t>
    </dgm:pt>
    <dgm:pt modelId="{D01C4A35-D28E-4BA2-8D67-7176A5556C90}" type="parTrans" cxnId="{44DD1722-39C6-4FFF-939C-835EC1002A34}">
      <dgm:prSet/>
      <dgm:spPr/>
      <dgm:t>
        <a:bodyPr/>
        <a:lstStyle/>
        <a:p>
          <a:endParaRPr lang="en-US"/>
        </a:p>
      </dgm:t>
    </dgm:pt>
    <dgm:pt modelId="{BCB41484-D53A-4DA3-9BA7-1AB6C8EC236E}" type="sibTrans" cxnId="{44DD1722-39C6-4FFF-939C-835EC1002A34}">
      <dgm:prSet/>
      <dgm:spPr/>
      <dgm:t>
        <a:bodyPr/>
        <a:lstStyle/>
        <a:p>
          <a:endParaRPr lang="en-US"/>
        </a:p>
      </dgm:t>
    </dgm:pt>
    <dgm:pt modelId="{2D7E85F6-3838-47CB-A88E-DE3E3FDAA44B}" type="pres">
      <dgm:prSet presAssocID="{3CCFAB95-5221-4735-9A41-79FF66ADA11C}" presName="linearFlow" presStyleCnt="0">
        <dgm:presLayoutVars>
          <dgm:dir/>
          <dgm:resizeHandles val="exact"/>
        </dgm:presLayoutVars>
      </dgm:prSet>
      <dgm:spPr/>
    </dgm:pt>
    <dgm:pt modelId="{713612C3-778E-4FD9-8CEA-648CB633967B}" type="pres">
      <dgm:prSet presAssocID="{24CD7468-9F0B-4297-9376-678D67B82503}" presName="node" presStyleLbl="node1" presStyleIdx="0" presStyleCnt="3" custScaleX="117551" custScaleY="66853" custLinFactNeighborX="3094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en-US"/>
        </a:p>
      </dgm:t>
    </dgm:pt>
    <dgm:pt modelId="{BD182D72-9BE8-4252-A6FB-449CAD8E5A23}" type="pres">
      <dgm:prSet presAssocID="{4DF582DE-C598-436B-9578-AB36726E54FF}" presName="spacerL" presStyleCnt="0"/>
      <dgm:spPr/>
    </dgm:pt>
    <dgm:pt modelId="{F508BF90-D5F0-4F5C-A1EC-443635DC2240}" type="pres">
      <dgm:prSet presAssocID="{4DF582DE-C598-436B-9578-AB36726E54FF}" presName="sibTrans" presStyleLbl="sibTrans2D1" presStyleIdx="0" presStyleCnt="2" custScaleX="93528" custScaleY="82720"/>
      <dgm:spPr>
        <a:prstGeom prst="mathMinus">
          <a:avLst/>
        </a:prstGeom>
      </dgm:spPr>
      <dgm:t>
        <a:bodyPr/>
        <a:lstStyle/>
        <a:p>
          <a:endParaRPr lang="en-US"/>
        </a:p>
      </dgm:t>
    </dgm:pt>
    <dgm:pt modelId="{0AD03EA7-D8F4-41B2-AD93-E11292CC1745}" type="pres">
      <dgm:prSet presAssocID="{4DF582DE-C598-436B-9578-AB36726E54FF}" presName="spacerR" presStyleCnt="0"/>
      <dgm:spPr/>
    </dgm:pt>
    <dgm:pt modelId="{0657E037-5689-4FEA-B1E6-479112C1D594}" type="pres">
      <dgm:prSet presAssocID="{63F1C203-03F9-471B-8875-8E93EAA8953D}" presName="node" presStyleLbl="node1" presStyleIdx="1" presStyleCnt="3" custScaleX="124129" custScaleY="77577" custLinFactNeighborX="3094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en-US"/>
        </a:p>
      </dgm:t>
    </dgm:pt>
    <dgm:pt modelId="{A9534606-B351-414D-9AB3-3D6FB96C250B}" type="pres">
      <dgm:prSet presAssocID="{43028226-5CD5-4DE7-A67E-6AD2352071A6}" presName="spacerL" presStyleCnt="0"/>
      <dgm:spPr/>
    </dgm:pt>
    <dgm:pt modelId="{27B1F273-0C1A-40E4-978D-BE106A8F4CAA}" type="pres">
      <dgm:prSet presAssocID="{43028226-5CD5-4DE7-A67E-6AD2352071A6}" presName="sibTrans" presStyleLbl="sibTrans2D1" presStyleIdx="1" presStyleCnt="2" custScaleX="81200" custScaleY="73495"/>
      <dgm:spPr/>
      <dgm:t>
        <a:bodyPr/>
        <a:lstStyle/>
        <a:p>
          <a:endParaRPr lang="en-US"/>
        </a:p>
      </dgm:t>
    </dgm:pt>
    <dgm:pt modelId="{584B9253-1BDF-4F10-9719-C987373ED3AB}" type="pres">
      <dgm:prSet presAssocID="{43028226-5CD5-4DE7-A67E-6AD2352071A6}" presName="spacerR" presStyleCnt="0"/>
      <dgm:spPr/>
    </dgm:pt>
    <dgm:pt modelId="{B58AF1FF-6F08-421D-BAC3-2DC4AA7CFC54}" type="pres">
      <dgm:prSet presAssocID="{270B7C9C-3846-4FC3-8940-510DB0DF07E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6D4FE9-C8B8-4251-9572-2CD136FCA61C}" type="presOf" srcId="{3CCFAB95-5221-4735-9A41-79FF66ADA11C}" destId="{2D7E85F6-3838-47CB-A88E-DE3E3FDAA44B}" srcOrd="0" destOrd="0" presId="urn:microsoft.com/office/officeart/2005/8/layout/equation1"/>
    <dgm:cxn modelId="{2A50F427-9CF2-42E1-9F55-39F44F8356EF}" type="presOf" srcId="{270B7C9C-3846-4FC3-8940-510DB0DF07EE}" destId="{B58AF1FF-6F08-421D-BAC3-2DC4AA7CFC54}" srcOrd="0" destOrd="0" presId="urn:microsoft.com/office/officeart/2005/8/layout/equation1"/>
    <dgm:cxn modelId="{4D53B780-A475-4BC6-BB29-22E68711F2CF}" type="presOf" srcId="{63F1C203-03F9-471B-8875-8E93EAA8953D}" destId="{0657E037-5689-4FEA-B1E6-479112C1D594}" srcOrd="0" destOrd="0" presId="urn:microsoft.com/office/officeart/2005/8/layout/equation1"/>
    <dgm:cxn modelId="{840BEFB6-6684-4847-B9E0-7D25F6232F21}" type="presOf" srcId="{43028226-5CD5-4DE7-A67E-6AD2352071A6}" destId="{27B1F273-0C1A-40E4-978D-BE106A8F4CAA}" srcOrd="0" destOrd="0" presId="urn:microsoft.com/office/officeart/2005/8/layout/equation1"/>
    <dgm:cxn modelId="{1917FB35-849B-4614-A12F-D472A97A2E93}" type="presOf" srcId="{4DF582DE-C598-436B-9578-AB36726E54FF}" destId="{F508BF90-D5F0-4F5C-A1EC-443635DC2240}" srcOrd="0" destOrd="0" presId="urn:microsoft.com/office/officeart/2005/8/layout/equation1"/>
    <dgm:cxn modelId="{44DD1722-39C6-4FFF-939C-835EC1002A34}" srcId="{3CCFAB95-5221-4735-9A41-79FF66ADA11C}" destId="{270B7C9C-3846-4FC3-8940-510DB0DF07EE}" srcOrd="2" destOrd="0" parTransId="{D01C4A35-D28E-4BA2-8D67-7176A5556C90}" sibTransId="{BCB41484-D53A-4DA3-9BA7-1AB6C8EC236E}"/>
    <dgm:cxn modelId="{C1CD4053-51D1-4EC3-8562-AD9556394193}" type="presOf" srcId="{24CD7468-9F0B-4297-9376-678D67B82503}" destId="{713612C3-778E-4FD9-8CEA-648CB633967B}" srcOrd="0" destOrd="0" presId="urn:microsoft.com/office/officeart/2005/8/layout/equation1"/>
    <dgm:cxn modelId="{B97943B8-DB7B-4CB7-852F-EAE817EAF594}" srcId="{3CCFAB95-5221-4735-9A41-79FF66ADA11C}" destId="{63F1C203-03F9-471B-8875-8E93EAA8953D}" srcOrd="1" destOrd="0" parTransId="{DB4CF972-3E42-4AA9-855A-6D095CD0B5E1}" sibTransId="{43028226-5CD5-4DE7-A67E-6AD2352071A6}"/>
    <dgm:cxn modelId="{FCCCD9DE-241F-47DF-A11D-97DCD74662E3}" srcId="{3CCFAB95-5221-4735-9A41-79FF66ADA11C}" destId="{24CD7468-9F0B-4297-9376-678D67B82503}" srcOrd="0" destOrd="0" parTransId="{5E0270E5-76BF-485D-896C-EA91DEA717A2}" sibTransId="{4DF582DE-C598-436B-9578-AB36726E54FF}"/>
    <dgm:cxn modelId="{6600F547-6863-46D9-8C67-BB38F18A07AE}" type="presParOf" srcId="{2D7E85F6-3838-47CB-A88E-DE3E3FDAA44B}" destId="{713612C3-778E-4FD9-8CEA-648CB633967B}" srcOrd="0" destOrd="0" presId="urn:microsoft.com/office/officeart/2005/8/layout/equation1"/>
    <dgm:cxn modelId="{9E101232-FBA7-4A52-B010-921CD6062AAE}" type="presParOf" srcId="{2D7E85F6-3838-47CB-A88E-DE3E3FDAA44B}" destId="{BD182D72-9BE8-4252-A6FB-449CAD8E5A23}" srcOrd="1" destOrd="0" presId="urn:microsoft.com/office/officeart/2005/8/layout/equation1"/>
    <dgm:cxn modelId="{9F3A4E89-3E9A-401A-AC8C-1BA0F627E36F}" type="presParOf" srcId="{2D7E85F6-3838-47CB-A88E-DE3E3FDAA44B}" destId="{F508BF90-D5F0-4F5C-A1EC-443635DC2240}" srcOrd="2" destOrd="0" presId="urn:microsoft.com/office/officeart/2005/8/layout/equation1"/>
    <dgm:cxn modelId="{7B29F0BD-ACE5-4AE8-B7A4-FE13700F1B7B}" type="presParOf" srcId="{2D7E85F6-3838-47CB-A88E-DE3E3FDAA44B}" destId="{0AD03EA7-D8F4-41B2-AD93-E11292CC1745}" srcOrd="3" destOrd="0" presId="urn:microsoft.com/office/officeart/2005/8/layout/equation1"/>
    <dgm:cxn modelId="{8819F100-1A21-4A4B-9A09-373FDD1764BA}" type="presParOf" srcId="{2D7E85F6-3838-47CB-A88E-DE3E3FDAA44B}" destId="{0657E037-5689-4FEA-B1E6-479112C1D594}" srcOrd="4" destOrd="0" presId="urn:microsoft.com/office/officeart/2005/8/layout/equation1"/>
    <dgm:cxn modelId="{6200E0B4-988A-4959-B529-F70C7120FDA3}" type="presParOf" srcId="{2D7E85F6-3838-47CB-A88E-DE3E3FDAA44B}" destId="{A9534606-B351-414D-9AB3-3D6FB96C250B}" srcOrd="5" destOrd="0" presId="urn:microsoft.com/office/officeart/2005/8/layout/equation1"/>
    <dgm:cxn modelId="{1DC66E56-24FC-4834-B15C-A28742203737}" type="presParOf" srcId="{2D7E85F6-3838-47CB-A88E-DE3E3FDAA44B}" destId="{27B1F273-0C1A-40E4-978D-BE106A8F4CAA}" srcOrd="6" destOrd="0" presId="urn:microsoft.com/office/officeart/2005/8/layout/equation1"/>
    <dgm:cxn modelId="{23FF892B-8668-414F-A909-872AF22056B0}" type="presParOf" srcId="{2D7E85F6-3838-47CB-A88E-DE3E3FDAA44B}" destId="{584B9253-1BDF-4F10-9719-C987373ED3AB}" srcOrd="7" destOrd="0" presId="urn:microsoft.com/office/officeart/2005/8/layout/equation1"/>
    <dgm:cxn modelId="{4E17E3D6-D3F8-43BE-90BE-259057A6B1A0}" type="presParOf" srcId="{2D7E85F6-3838-47CB-A88E-DE3E3FDAA44B}" destId="{B58AF1FF-6F08-421D-BAC3-2DC4AA7CFC54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D9A76B-0A15-42BF-B1DA-C4D27704E403}" type="doc">
      <dgm:prSet loTypeId="urn:microsoft.com/office/officeart/2005/8/layout/chevron1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GB"/>
        </a:p>
      </dgm:t>
    </dgm:pt>
    <dgm:pt modelId="{F8FB3993-906C-4782-9958-1B84AA5418B1}">
      <dgm:prSet phldrT="[Text]" custT="1"/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ru-RU" sz="1200" dirty="0" smtClean="0">
              <a:solidFill>
                <a:schemeClr val="bg1"/>
              </a:solidFill>
            </a:rPr>
            <a:t>Импорт данных</a:t>
          </a:r>
          <a:endParaRPr lang="en-GB" sz="1200" dirty="0">
            <a:solidFill>
              <a:schemeClr val="bg1"/>
            </a:solidFill>
          </a:endParaRPr>
        </a:p>
      </dgm:t>
    </dgm:pt>
    <dgm:pt modelId="{9A521399-4C95-47B7-B22C-62284F60345D}" type="parTrans" cxnId="{7E7BFCFA-9DBB-4E57-B680-7E6685D6D333}">
      <dgm:prSet/>
      <dgm:spPr/>
      <dgm:t>
        <a:bodyPr/>
        <a:lstStyle/>
        <a:p>
          <a:endParaRPr lang="en-GB" sz="1200"/>
        </a:p>
      </dgm:t>
    </dgm:pt>
    <dgm:pt modelId="{98EBAD30-68BC-473F-8561-E4C0C9F1AB79}" type="sibTrans" cxnId="{7E7BFCFA-9DBB-4E57-B680-7E6685D6D333}">
      <dgm:prSet/>
      <dgm:spPr/>
      <dgm:t>
        <a:bodyPr/>
        <a:lstStyle/>
        <a:p>
          <a:endParaRPr lang="en-GB" sz="1200"/>
        </a:p>
      </dgm:t>
    </dgm:pt>
    <dgm:pt modelId="{B8E8AAFE-04F9-4556-A967-619E1DDB5752}">
      <dgm:prSet phldrT="[Text]" custT="1"/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ru-RU" sz="1200" dirty="0" smtClean="0">
              <a:solidFill>
                <a:schemeClr val="bg1"/>
              </a:solidFill>
            </a:rPr>
            <a:t>Валидация данных</a:t>
          </a:r>
          <a:endParaRPr lang="en-GB" sz="1200" dirty="0">
            <a:solidFill>
              <a:schemeClr val="bg1"/>
            </a:solidFill>
          </a:endParaRPr>
        </a:p>
      </dgm:t>
    </dgm:pt>
    <dgm:pt modelId="{6734A6A0-0587-4C80-A6B8-37B327078381}" type="parTrans" cxnId="{3028A704-0637-4ED9-B4B1-2576FFA6AB80}">
      <dgm:prSet/>
      <dgm:spPr/>
      <dgm:t>
        <a:bodyPr/>
        <a:lstStyle/>
        <a:p>
          <a:endParaRPr lang="en-GB" sz="1200"/>
        </a:p>
      </dgm:t>
    </dgm:pt>
    <dgm:pt modelId="{CAEF5C01-3022-4509-B814-FFCE6795638F}" type="sibTrans" cxnId="{3028A704-0637-4ED9-B4B1-2576FFA6AB80}">
      <dgm:prSet/>
      <dgm:spPr/>
      <dgm:t>
        <a:bodyPr/>
        <a:lstStyle/>
        <a:p>
          <a:endParaRPr lang="en-GB" sz="1200"/>
        </a:p>
      </dgm:t>
    </dgm:pt>
    <dgm:pt modelId="{A6B0BC1D-EE6E-45AF-A02C-C4655531CC82}">
      <dgm:prSet phldrT="[Text]" custT="1"/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ru-RU" sz="1200" dirty="0" smtClean="0">
              <a:solidFill>
                <a:schemeClr val="bg1"/>
              </a:solidFill>
            </a:rPr>
            <a:t>Классифи-кация данных</a:t>
          </a:r>
          <a:endParaRPr lang="en-GB" sz="1200" dirty="0">
            <a:solidFill>
              <a:schemeClr val="bg1"/>
            </a:solidFill>
          </a:endParaRPr>
        </a:p>
      </dgm:t>
    </dgm:pt>
    <dgm:pt modelId="{A1627861-C3E9-475A-9B59-426B18CB699E}" type="parTrans" cxnId="{2FAEB721-8546-4047-8FF2-87BC51EED41E}">
      <dgm:prSet/>
      <dgm:spPr/>
      <dgm:t>
        <a:bodyPr/>
        <a:lstStyle/>
        <a:p>
          <a:endParaRPr lang="en-GB" sz="1200"/>
        </a:p>
      </dgm:t>
    </dgm:pt>
    <dgm:pt modelId="{2D2B143B-2BE5-403F-A4F1-116DB7732F9B}" type="sibTrans" cxnId="{2FAEB721-8546-4047-8FF2-87BC51EED41E}">
      <dgm:prSet/>
      <dgm:spPr/>
      <dgm:t>
        <a:bodyPr/>
        <a:lstStyle/>
        <a:p>
          <a:endParaRPr lang="en-GB" sz="1200"/>
        </a:p>
      </dgm:t>
    </dgm:pt>
    <dgm:pt modelId="{48999669-2EFC-4125-A204-0BB3B65D5301}">
      <dgm:prSet custT="1"/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ru-RU" sz="1200" dirty="0" smtClean="0">
              <a:solidFill>
                <a:schemeClr val="bg1"/>
              </a:solidFill>
            </a:rPr>
            <a:t>Расчет ПКЛ</a:t>
          </a:r>
          <a:endParaRPr lang="en-GB" sz="1200" dirty="0">
            <a:solidFill>
              <a:schemeClr val="bg1"/>
            </a:solidFill>
          </a:endParaRPr>
        </a:p>
      </dgm:t>
    </dgm:pt>
    <dgm:pt modelId="{F2BA8995-8123-4EEA-BF79-3812501ED455}" type="parTrans" cxnId="{6155C150-6842-447E-82B9-CFB0C9ACAA04}">
      <dgm:prSet/>
      <dgm:spPr/>
      <dgm:t>
        <a:bodyPr/>
        <a:lstStyle/>
        <a:p>
          <a:endParaRPr lang="en-GB" sz="1200"/>
        </a:p>
      </dgm:t>
    </dgm:pt>
    <dgm:pt modelId="{FCCE3965-3DE9-4413-9F38-47D6E3CFD965}" type="sibTrans" cxnId="{6155C150-6842-447E-82B9-CFB0C9ACAA04}">
      <dgm:prSet/>
      <dgm:spPr/>
      <dgm:t>
        <a:bodyPr/>
        <a:lstStyle/>
        <a:p>
          <a:endParaRPr lang="en-GB" sz="1200"/>
        </a:p>
      </dgm:t>
    </dgm:pt>
    <dgm:pt modelId="{F5B0E824-7496-4A82-8D97-C8F02B8B9294}">
      <dgm:prSet custT="1"/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  <a:scene3d>
          <a:camera prst="orthographicFront"/>
          <a:lightRig rig="threePt" dir="t"/>
        </a:scene3d>
        <a:sp3d>
          <a:bevelT w="152400" h="50800" prst="softRound"/>
        </a:sp3d>
      </dgm:spPr>
      <dgm:t>
        <a:bodyPr/>
        <a:lstStyle/>
        <a:p>
          <a:r>
            <a:rPr lang="ru-RU" sz="1200" dirty="0" smtClean="0">
              <a:solidFill>
                <a:schemeClr val="bg1"/>
              </a:solidFill>
            </a:rPr>
            <a:t>Формирова-ние отчета</a:t>
          </a:r>
          <a:endParaRPr lang="en-GB" sz="1200" dirty="0">
            <a:solidFill>
              <a:schemeClr val="bg1"/>
            </a:solidFill>
          </a:endParaRPr>
        </a:p>
      </dgm:t>
    </dgm:pt>
    <dgm:pt modelId="{BB95F89F-424D-4F79-B35F-7D8DB0A4098E}" type="parTrans" cxnId="{ED308A46-5C10-4928-9AC5-60B1EC476D90}">
      <dgm:prSet/>
      <dgm:spPr/>
      <dgm:t>
        <a:bodyPr/>
        <a:lstStyle/>
        <a:p>
          <a:endParaRPr lang="en-GB" sz="1200"/>
        </a:p>
      </dgm:t>
    </dgm:pt>
    <dgm:pt modelId="{774EEA33-B43B-46EC-A132-BE3863C313CF}" type="sibTrans" cxnId="{ED308A46-5C10-4928-9AC5-60B1EC476D90}">
      <dgm:prSet/>
      <dgm:spPr/>
      <dgm:t>
        <a:bodyPr/>
        <a:lstStyle/>
        <a:p>
          <a:endParaRPr lang="en-GB" sz="1200"/>
        </a:p>
      </dgm:t>
    </dgm:pt>
    <dgm:pt modelId="{C9CD34DE-4199-4478-8446-5D44099E8A55}" type="pres">
      <dgm:prSet presAssocID="{3ED9A76B-0A15-42BF-B1DA-C4D27704E40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8BCC6A2-DB4F-4A02-8E22-11BA05CCE894}" type="pres">
      <dgm:prSet presAssocID="{F8FB3993-906C-4782-9958-1B84AA5418B1}" presName="parTxOnly" presStyleLbl="node1" presStyleIdx="0" presStyleCnt="5" custLinFactNeighborX="-11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3E2579-7DE3-4C71-A692-7740D8D36BAC}" type="pres">
      <dgm:prSet presAssocID="{98EBAD30-68BC-473F-8561-E4C0C9F1AB79}" presName="parTxOnlySpace" presStyleCnt="0"/>
      <dgm:spPr/>
    </dgm:pt>
    <dgm:pt modelId="{17760118-092D-47DA-9065-ABC118F1DDA6}" type="pres">
      <dgm:prSet presAssocID="{B8E8AAFE-04F9-4556-A967-619E1DDB5752}" presName="parTxOnly" presStyleLbl="node1" presStyleIdx="1" presStyleCnt="5" custLinFactNeighborX="-11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C603DF-C07A-4D7E-9792-AE8949A379BF}" type="pres">
      <dgm:prSet presAssocID="{CAEF5C01-3022-4509-B814-FFCE6795638F}" presName="parTxOnlySpace" presStyleCnt="0"/>
      <dgm:spPr/>
    </dgm:pt>
    <dgm:pt modelId="{BCF420E3-EBF2-4FE3-874D-6AFE4B5E7E4A}" type="pres">
      <dgm:prSet presAssocID="{A6B0BC1D-EE6E-45AF-A02C-C4655531CC82}" presName="parTxOnly" presStyleLbl="node1" presStyleIdx="2" presStyleCnt="5" custLinFactNeighborX="-11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2A2CB9-C076-4522-83EA-78390725E6F2}" type="pres">
      <dgm:prSet presAssocID="{2D2B143B-2BE5-403F-A4F1-116DB7732F9B}" presName="parTxOnlySpace" presStyleCnt="0"/>
      <dgm:spPr/>
    </dgm:pt>
    <dgm:pt modelId="{2C84A938-B89D-40C2-A7D2-F04B406EB127}" type="pres">
      <dgm:prSet presAssocID="{48999669-2EFC-4125-A204-0BB3B65D5301}" presName="parTxOnly" presStyleLbl="node1" presStyleIdx="3" presStyleCnt="5" custLinFactNeighborX="-11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13B28E-6E01-406F-A92F-D42E48C3C195}" type="pres">
      <dgm:prSet presAssocID="{FCCE3965-3DE9-4413-9F38-47D6E3CFD965}" presName="parTxOnlySpace" presStyleCnt="0"/>
      <dgm:spPr/>
    </dgm:pt>
    <dgm:pt modelId="{C3504563-4ECD-449F-964A-43E4A358C4F5}" type="pres">
      <dgm:prSet presAssocID="{F5B0E824-7496-4A82-8D97-C8F02B8B9294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E7BFCFA-9DBB-4E57-B680-7E6685D6D333}" srcId="{3ED9A76B-0A15-42BF-B1DA-C4D27704E403}" destId="{F8FB3993-906C-4782-9958-1B84AA5418B1}" srcOrd="0" destOrd="0" parTransId="{9A521399-4C95-47B7-B22C-62284F60345D}" sibTransId="{98EBAD30-68BC-473F-8561-E4C0C9F1AB79}"/>
    <dgm:cxn modelId="{3028A704-0637-4ED9-B4B1-2576FFA6AB80}" srcId="{3ED9A76B-0A15-42BF-B1DA-C4D27704E403}" destId="{B8E8AAFE-04F9-4556-A967-619E1DDB5752}" srcOrd="1" destOrd="0" parTransId="{6734A6A0-0587-4C80-A6B8-37B327078381}" sibTransId="{CAEF5C01-3022-4509-B814-FFCE6795638F}"/>
    <dgm:cxn modelId="{EAAB931F-AAEC-4F09-925A-EBAD81ADAFE9}" type="presOf" srcId="{3ED9A76B-0A15-42BF-B1DA-C4D27704E403}" destId="{C9CD34DE-4199-4478-8446-5D44099E8A55}" srcOrd="0" destOrd="0" presId="urn:microsoft.com/office/officeart/2005/8/layout/chevron1"/>
    <dgm:cxn modelId="{FCA4C025-DBFE-45E3-B3F5-AF02852B7AC7}" type="presOf" srcId="{48999669-2EFC-4125-A204-0BB3B65D5301}" destId="{2C84A938-B89D-40C2-A7D2-F04B406EB127}" srcOrd="0" destOrd="0" presId="urn:microsoft.com/office/officeart/2005/8/layout/chevron1"/>
    <dgm:cxn modelId="{ED308A46-5C10-4928-9AC5-60B1EC476D90}" srcId="{3ED9A76B-0A15-42BF-B1DA-C4D27704E403}" destId="{F5B0E824-7496-4A82-8D97-C8F02B8B9294}" srcOrd="4" destOrd="0" parTransId="{BB95F89F-424D-4F79-B35F-7D8DB0A4098E}" sibTransId="{774EEA33-B43B-46EC-A132-BE3863C313CF}"/>
    <dgm:cxn modelId="{0EAA4A26-D039-4076-A8C7-576B47A8FAA0}" type="presOf" srcId="{F5B0E824-7496-4A82-8D97-C8F02B8B9294}" destId="{C3504563-4ECD-449F-964A-43E4A358C4F5}" srcOrd="0" destOrd="0" presId="urn:microsoft.com/office/officeart/2005/8/layout/chevron1"/>
    <dgm:cxn modelId="{55223144-C57F-4FA1-9BF4-C5596409CD8D}" type="presOf" srcId="{A6B0BC1D-EE6E-45AF-A02C-C4655531CC82}" destId="{BCF420E3-EBF2-4FE3-874D-6AFE4B5E7E4A}" srcOrd="0" destOrd="0" presId="urn:microsoft.com/office/officeart/2005/8/layout/chevron1"/>
    <dgm:cxn modelId="{2FAEB721-8546-4047-8FF2-87BC51EED41E}" srcId="{3ED9A76B-0A15-42BF-B1DA-C4D27704E403}" destId="{A6B0BC1D-EE6E-45AF-A02C-C4655531CC82}" srcOrd="2" destOrd="0" parTransId="{A1627861-C3E9-475A-9B59-426B18CB699E}" sibTransId="{2D2B143B-2BE5-403F-A4F1-116DB7732F9B}"/>
    <dgm:cxn modelId="{6155C150-6842-447E-82B9-CFB0C9ACAA04}" srcId="{3ED9A76B-0A15-42BF-B1DA-C4D27704E403}" destId="{48999669-2EFC-4125-A204-0BB3B65D5301}" srcOrd="3" destOrd="0" parTransId="{F2BA8995-8123-4EEA-BF79-3812501ED455}" sibTransId="{FCCE3965-3DE9-4413-9F38-47D6E3CFD965}"/>
    <dgm:cxn modelId="{44796353-9FB6-4918-9C7C-F9D5B97FEF9A}" type="presOf" srcId="{B8E8AAFE-04F9-4556-A967-619E1DDB5752}" destId="{17760118-092D-47DA-9065-ABC118F1DDA6}" srcOrd="0" destOrd="0" presId="urn:microsoft.com/office/officeart/2005/8/layout/chevron1"/>
    <dgm:cxn modelId="{9B12C436-A901-4F3E-BEA5-9B9CF9D65596}" type="presOf" srcId="{F8FB3993-906C-4782-9958-1B84AA5418B1}" destId="{B8BCC6A2-DB4F-4A02-8E22-11BA05CCE894}" srcOrd="0" destOrd="0" presId="urn:microsoft.com/office/officeart/2005/8/layout/chevron1"/>
    <dgm:cxn modelId="{3767FECE-673A-447B-A5DA-751E2926333C}" type="presParOf" srcId="{C9CD34DE-4199-4478-8446-5D44099E8A55}" destId="{B8BCC6A2-DB4F-4A02-8E22-11BA05CCE894}" srcOrd="0" destOrd="0" presId="urn:microsoft.com/office/officeart/2005/8/layout/chevron1"/>
    <dgm:cxn modelId="{9E32FFE6-A7BD-4213-8A86-1BB87D330EA8}" type="presParOf" srcId="{C9CD34DE-4199-4478-8446-5D44099E8A55}" destId="{C33E2579-7DE3-4C71-A692-7740D8D36BAC}" srcOrd="1" destOrd="0" presId="urn:microsoft.com/office/officeart/2005/8/layout/chevron1"/>
    <dgm:cxn modelId="{8505298D-CEC1-430B-B554-DCE1ADEE8575}" type="presParOf" srcId="{C9CD34DE-4199-4478-8446-5D44099E8A55}" destId="{17760118-092D-47DA-9065-ABC118F1DDA6}" srcOrd="2" destOrd="0" presId="urn:microsoft.com/office/officeart/2005/8/layout/chevron1"/>
    <dgm:cxn modelId="{7E3AC6FB-7364-4CBE-ABF1-50574BE192A5}" type="presParOf" srcId="{C9CD34DE-4199-4478-8446-5D44099E8A55}" destId="{78C603DF-C07A-4D7E-9792-AE8949A379BF}" srcOrd="3" destOrd="0" presId="urn:microsoft.com/office/officeart/2005/8/layout/chevron1"/>
    <dgm:cxn modelId="{2845FE7D-F069-4BA5-AF77-20B2A8452B47}" type="presParOf" srcId="{C9CD34DE-4199-4478-8446-5D44099E8A55}" destId="{BCF420E3-EBF2-4FE3-874D-6AFE4B5E7E4A}" srcOrd="4" destOrd="0" presId="urn:microsoft.com/office/officeart/2005/8/layout/chevron1"/>
    <dgm:cxn modelId="{659F1298-42FE-49BC-98BB-5F0CCC5B89C3}" type="presParOf" srcId="{C9CD34DE-4199-4478-8446-5D44099E8A55}" destId="{FF2A2CB9-C076-4522-83EA-78390725E6F2}" srcOrd="5" destOrd="0" presId="urn:microsoft.com/office/officeart/2005/8/layout/chevron1"/>
    <dgm:cxn modelId="{4C4A77C5-50C5-47DE-9445-42C1CA05E266}" type="presParOf" srcId="{C9CD34DE-4199-4478-8446-5D44099E8A55}" destId="{2C84A938-B89D-40C2-A7D2-F04B406EB127}" srcOrd="6" destOrd="0" presId="urn:microsoft.com/office/officeart/2005/8/layout/chevron1"/>
    <dgm:cxn modelId="{73DA95FF-628D-40F7-B58B-AE1752BC038F}" type="presParOf" srcId="{C9CD34DE-4199-4478-8446-5D44099E8A55}" destId="{0A13B28E-6E01-406F-A92F-D42E48C3C195}" srcOrd="7" destOrd="0" presId="urn:microsoft.com/office/officeart/2005/8/layout/chevron1"/>
    <dgm:cxn modelId="{59CD7399-F6D9-445C-B04A-1367043936CE}" type="presParOf" srcId="{C9CD34DE-4199-4478-8446-5D44099E8A55}" destId="{C3504563-4ECD-449F-964A-43E4A358C4F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608C347-AECF-4123-8BEB-AC5EFB3B8733}" type="doc">
      <dgm:prSet loTypeId="urn:microsoft.com/office/officeart/2005/8/layout/arrow2" loCatId="process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A2CAFB6C-BB54-47AE-A869-C3E2C485E8FB}">
      <dgm:prSet custT="1"/>
      <dgm:spPr/>
      <dgm:t>
        <a:bodyPr/>
        <a:lstStyle/>
        <a:p>
          <a:pPr rtl="0"/>
          <a:r>
            <a:rPr lang="ru-RU" sz="1200" dirty="0" smtClean="0"/>
            <a:t>Развертывание решения</a:t>
          </a:r>
          <a:endParaRPr lang="en-US" sz="1200" dirty="0"/>
        </a:p>
      </dgm:t>
    </dgm:pt>
    <dgm:pt modelId="{F77CD074-938A-4CA7-BCCA-D3EB3E6CEB82}" type="parTrans" cxnId="{B89D28E0-0EB2-488D-A358-9598F63DE940}">
      <dgm:prSet/>
      <dgm:spPr/>
      <dgm:t>
        <a:bodyPr/>
        <a:lstStyle/>
        <a:p>
          <a:endParaRPr lang="en-US"/>
        </a:p>
      </dgm:t>
    </dgm:pt>
    <dgm:pt modelId="{21EB0E83-FCE6-4B9A-A2F2-61FAE22C07E5}" type="sibTrans" cxnId="{B89D28E0-0EB2-488D-A358-9598F63DE940}">
      <dgm:prSet/>
      <dgm:spPr/>
      <dgm:t>
        <a:bodyPr/>
        <a:lstStyle/>
        <a:p>
          <a:endParaRPr lang="en-US"/>
        </a:p>
      </dgm:t>
    </dgm:pt>
    <dgm:pt modelId="{86B77929-24DE-4C3C-AA70-08AF9669FDDC}">
      <dgm:prSet custT="1"/>
      <dgm:spPr/>
      <dgm:t>
        <a:bodyPr/>
        <a:lstStyle/>
        <a:p>
          <a:pPr rtl="0"/>
          <a:r>
            <a:rPr lang="ru-RU" sz="1200" dirty="0" smtClean="0"/>
            <a:t>Интеграция в среду банка</a:t>
          </a:r>
          <a:endParaRPr lang="en-US" sz="1200" dirty="0"/>
        </a:p>
      </dgm:t>
    </dgm:pt>
    <dgm:pt modelId="{5D8E5039-8539-4595-BC9D-230EF9A67979}" type="parTrans" cxnId="{A9825D42-3CC9-462D-BE88-7D089F96F4E5}">
      <dgm:prSet/>
      <dgm:spPr/>
      <dgm:t>
        <a:bodyPr/>
        <a:lstStyle/>
        <a:p>
          <a:endParaRPr lang="en-US"/>
        </a:p>
      </dgm:t>
    </dgm:pt>
    <dgm:pt modelId="{6376BE6C-89A7-4B53-BE58-B179AD5C4D9E}" type="sibTrans" cxnId="{A9825D42-3CC9-462D-BE88-7D089F96F4E5}">
      <dgm:prSet/>
      <dgm:spPr/>
      <dgm:t>
        <a:bodyPr/>
        <a:lstStyle/>
        <a:p>
          <a:endParaRPr lang="en-US"/>
        </a:p>
      </dgm:t>
    </dgm:pt>
    <dgm:pt modelId="{EAC74C40-49C6-4615-AB04-A4F8B15F902B}">
      <dgm:prSet custT="1"/>
      <dgm:spPr/>
      <dgm:t>
        <a:bodyPr/>
        <a:lstStyle/>
        <a:p>
          <a:pPr rtl="0"/>
          <a:r>
            <a:rPr lang="ru-RU" sz="1200" dirty="0" smtClean="0"/>
            <a:t>Анализ специфики банка</a:t>
          </a:r>
          <a:endParaRPr lang="en-US" sz="1200" dirty="0"/>
        </a:p>
      </dgm:t>
    </dgm:pt>
    <dgm:pt modelId="{530E6B7F-CC26-4AB8-A734-7AF28E32BF6B}" type="parTrans" cxnId="{2BB93858-DE16-4773-BE1A-0D48632F7E81}">
      <dgm:prSet/>
      <dgm:spPr/>
      <dgm:t>
        <a:bodyPr/>
        <a:lstStyle/>
        <a:p>
          <a:endParaRPr lang="en-US"/>
        </a:p>
      </dgm:t>
    </dgm:pt>
    <dgm:pt modelId="{D5797D14-B9B2-419C-A671-E7C0FE3E14F9}" type="sibTrans" cxnId="{2BB93858-DE16-4773-BE1A-0D48632F7E81}">
      <dgm:prSet/>
      <dgm:spPr/>
      <dgm:t>
        <a:bodyPr/>
        <a:lstStyle/>
        <a:p>
          <a:endParaRPr lang="en-US"/>
        </a:p>
      </dgm:t>
    </dgm:pt>
    <dgm:pt modelId="{68C1BCE2-376A-4F27-92FD-76489AB7532C}">
      <dgm:prSet custT="1"/>
      <dgm:spPr/>
      <dgm:t>
        <a:bodyPr/>
        <a:lstStyle/>
        <a:p>
          <a:pPr rtl="0"/>
          <a:r>
            <a:rPr lang="ru-RU" sz="1200" dirty="0" smtClean="0"/>
            <a:t>Адаптация к специфике банка</a:t>
          </a:r>
          <a:endParaRPr lang="en-US" sz="1200" dirty="0"/>
        </a:p>
      </dgm:t>
    </dgm:pt>
    <dgm:pt modelId="{7154DD34-D061-40C5-804E-D26AE9A6FFBF}" type="parTrans" cxnId="{3EA563DE-18C3-43BC-BBD0-C7932CF2E1D3}">
      <dgm:prSet/>
      <dgm:spPr/>
      <dgm:t>
        <a:bodyPr/>
        <a:lstStyle/>
        <a:p>
          <a:endParaRPr lang="en-US"/>
        </a:p>
      </dgm:t>
    </dgm:pt>
    <dgm:pt modelId="{3C8B82F4-860D-43FB-ADBC-797D2F0AE85C}" type="sibTrans" cxnId="{3EA563DE-18C3-43BC-BBD0-C7932CF2E1D3}">
      <dgm:prSet/>
      <dgm:spPr/>
      <dgm:t>
        <a:bodyPr/>
        <a:lstStyle/>
        <a:p>
          <a:endParaRPr lang="en-US"/>
        </a:p>
      </dgm:t>
    </dgm:pt>
    <dgm:pt modelId="{A0D9E5AF-E1E0-47D4-A636-53956182D614}">
      <dgm:prSet custT="1"/>
      <dgm:spPr/>
      <dgm:t>
        <a:bodyPr/>
        <a:lstStyle/>
        <a:p>
          <a:pPr rtl="0"/>
          <a:r>
            <a:rPr lang="ru-RU" sz="1200" dirty="0" smtClean="0"/>
            <a:t>Обучение и тестирование</a:t>
          </a:r>
          <a:endParaRPr lang="en-US" sz="1200" dirty="0"/>
        </a:p>
      </dgm:t>
    </dgm:pt>
    <dgm:pt modelId="{A26B6DA6-7491-482A-9C8B-394CE9D2BBEA}" type="parTrans" cxnId="{B0EC51F1-D19B-4266-BCCC-E8E909162993}">
      <dgm:prSet/>
      <dgm:spPr/>
      <dgm:t>
        <a:bodyPr/>
        <a:lstStyle/>
        <a:p>
          <a:endParaRPr lang="en-US"/>
        </a:p>
      </dgm:t>
    </dgm:pt>
    <dgm:pt modelId="{80CC7CC6-730B-4BEF-8391-38021C8B2E61}" type="sibTrans" cxnId="{B0EC51F1-D19B-4266-BCCC-E8E909162993}">
      <dgm:prSet/>
      <dgm:spPr/>
      <dgm:t>
        <a:bodyPr/>
        <a:lstStyle/>
        <a:p>
          <a:endParaRPr lang="en-US"/>
        </a:p>
      </dgm:t>
    </dgm:pt>
    <dgm:pt modelId="{ECBA6472-DBB3-462F-8EE6-E6EBFB4779A9}" type="pres">
      <dgm:prSet presAssocID="{5608C347-AECF-4123-8BEB-AC5EFB3B8733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E64B535-EDC1-4A65-B2A3-0DB95B74ED03}" type="pres">
      <dgm:prSet presAssocID="{5608C347-AECF-4123-8BEB-AC5EFB3B8733}" presName="arrow" presStyleLbl="bgShp" presStyleIdx="0" presStyleCnt="1"/>
      <dgm:spPr/>
    </dgm:pt>
    <dgm:pt modelId="{907D70B2-D690-4A8C-A6D8-7925E19B62BB}" type="pres">
      <dgm:prSet presAssocID="{5608C347-AECF-4123-8BEB-AC5EFB3B8733}" presName="arrowDiagram5" presStyleCnt="0"/>
      <dgm:spPr/>
    </dgm:pt>
    <dgm:pt modelId="{BF49F6DC-7369-4A15-B977-14A175FA6E6C}" type="pres">
      <dgm:prSet presAssocID="{A2CAFB6C-BB54-47AE-A869-C3E2C485E8FB}" presName="bullet5a" presStyleLbl="node1" presStyleIdx="0" presStyleCnt="5"/>
      <dgm:spPr/>
    </dgm:pt>
    <dgm:pt modelId="{06B611E9-1BE4-43CC-97E8-DC30C05A5530}" type="pres">
      <dgm:prSet presAssocID="{A2CAFB6C-BB54-47AE-A869-C3E2C485E8FB}" presName="textBox5a" presStyleLbl="revTx" presStyleIdx="0" presStyleCnt="5" custScaleX="476928" custScaleY="66112" custLinFactX="100000" custLinFactNeighborX="121920" custLinFactNeighborY="32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B9E937-B76B-4D35-ACD3-E5AF07FA825C}" type="pres">
      <dgm:prSet presAssocID="{86B77929-24DE-4C3C-AA70-08AF9669FDDC}" presName="bullet5b" presStyleLbl="node1" presStyleIdx="1" presStyleCnt="5"/>
      <dgm:spPr/>
    </dgm:pt>
    <dgm:pt modelId="{15F5B0A0-7020-4DD0-A392-2028A54DAA08}" type="pres">
      <dgm:prSet presAssocID="{86B77929-24DE-4C3C-AA70-08AF9669FDDC}" presName="textBox5b" presStyleLbl="revTx" presStyleIdx="1" presStyleCnt="5" custScaleX="614083" custScaleY="70209" custLinFactX="100000" custLinFactNeighborX="173857" custLinFactNeighborY="-27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DEB198-7820-49DB-8940-4801EA6D32EF}" type="pres">
      <dgm:prSet presAssocID="{EAC74C40-49C6-4615-AB04-A4F8B15F902B}" presName="bullet5c" presStyleLbl="node1" presStyleIdx="2" presStyleCnt="5"/>
      <dgm:spPr/>
    </dgm:pt>
    <dgm:pt modelId="{2BF22FA8-0502-424B-94A8-D163B2D0DF13}" type="pres">
      <dgm:prSet presAssocID="{EAC74C40-49C6-4615-AB04-A4F8B15F902B}" presName="textBox5c" presStyleLbl="revTx" presStyleIdx="2" presStyleCnt="5" custScaleX="333301" custScaleY="36551" custLinFactX="33406" custLinFactNeighborX="100000" custLinFactNeighborY="-200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88942A-54D2-47B4-AFB3-9E0D0554AF33}" type="pres">
      <dgm:prSet presAssocID="{68C1BCE2-376A-4F27-92FD-76489AB7532C}" presName="bullet5d" presStyleLbl="node1" presStyleIdx="3" presStyleCnt="5"/>
      <dgm:spPr/>
    </dgm:pt>
    <dgm:pt modelId="{9D1EFCEE-80FA-4398-A414-8B2E31D03A28}" type="pres">
      <dgm:prSet presAssocID="{68C1BCE2-376A-4F27-92FD-76489AB7532C}" presName="textBox5d" presStyleLbl="revTx" presStyleIdx="3" presStyleCnt="5" custScaleX="328230" custScaleY="71237" custLinFactX="32777" custLinFactNeighborX="100000" custLinFactNeighborY="-34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E1BB6E-9441-4586-85C0-F3740B8AA435}" type="pres">
      <dgm:prSet presAssocID="{A0D9E5AF-E1E0-47D4-A636-53956182D614}" presName="bullet5e" presStyleLbl="node1" presStyleIdx="4" presStyleCnt="5"/>
      <dgm:spPr/>
    </dgm:pt>
    <dgm:pt modelId="{B60126AC-D0A5-4E04-933B-5DE1FF3EDA9D}" type="pres">
      <dgm:prSet presAssocID="{A0D9E5AF-E1E0-47D4-A636-53956182D614}" presName="textBox5e" presStyleLbl="revTx" presStyleIdx="4" presStyleCnt="5" custScaleX="239552" custScaleY="36806" custLinFactNeighborX="98680" custLinFactNeighborY="-377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89D28E0-0EB2-488D-A358-9598F63DE940}" srcId="{5608C347-AECF-4123-8BEB-AC5EFB3B8733}" destId="{A2CAFB6C-BB54-47AE-A869-C3E2C485E8FB}" srcOrd="0" destOrd="0" parTransId="{F77CD074-938A-4CA7-BCCA-D3EB3E6CEB82}" sibTransId="{21EB0E83-FCE6-4B9A-A2F2-61FAE22C07E5}"/>
    <dgm:cxn modelId="{03C1C83D-4C4C-449A-AA2F-31C5B457AD3D}" type="presOf" srcId="{68C1BCE2-376A-4F27-92FD-76489AB7532C}" destId="{9D1EFCEE-80FA-4398-A414-8B2E31D03A28}" srcOrd="0" destOrd="0" presId="urn:microsoft.com/office/officeart/2005/8/layout/arrow2"/>
    <dgm:cxn modelId="{B0EC51F1-D19B-4266-BCCC-E8E909162993}" srcId="{5608C347-AECF-4123-8BEB-AC5EFB3B8733}" destId="{A0D9E5AF-E1E0-47D4-A636-53956182D614}" srcOrd="4" destOrd="0" parTransId="{A26B6DA6-7491-482A-9C8B-394CE9D2BBEA}" sibTransId="{80CC7CC6-730B-4BEF-8391-38021C8B2E61}"/>
    <dgm:cxn modelId="{276E42AD-AC91-410F-803B-A958B5F7EE1A}" type="presOf" srcId="{86B77929-24DE-4C3C-AA70-08AF9669FDDC}" destId="{15F5B0A0-7020-4DD0-A392-2028A54DAA08}" srcOrd="0" destOrd="0" presId="urn:microsoft.com/office/officeart/2005/8/layout/arrow2"/>
    <dgm:cxn modelId="{63DAAE3E-CFEF-4C4B-89E6-F4AB29A0E7EF}" type="presOf" srcId="{A0D9E5AF-E1E0-47D4-A636-53956182D614}" destId="{B60126AC-D0A5-4E04-933B-5DE1FF3EDA9D}" srcOrd="0" destOrd="0" presId="urn:microsoft.com/office/officeart/2005/8/layout/arrow2"/>
    <dgm:cxn modelId="{2BB93858-DE16-4773-BE1A-0D48632F7E81}" srcId="{5608C347-AECF-4123-8BEB-AC5EFB3B8733}" destId="{EAC74C40-49C6-4615-AB04-A4F8B15F902B}" srcOrd="2" destOrd="0" parTransId="{530E6B7F-CC26-4AB8-A734-7AF28E32BF6B}" sibTransId="{D5797D14-B9B2-419C-A671-E7C0FE3E14F9}"/>
    <dgm:cxn modelId="{3EA563DE-18C3-43BC-BBD0-C7932CF2E1D3}" srcId="{5608C347-AECF-4123-8BEB-AC5EFB3B8733}" destId="{68C1BCE2-376A-4F27-92FD-76489AB7532C}" srcOrd="3" destOrd="0" parTransId="{7154DD34-D061-40C5-804E-D26AE9A6FFBF}" sibTransId="{3C8B82F4-860D-43FB-ADBC-797D2F0AE85C}"/>
    <dgm:cxn modelId="{A9B51308-33AD-43D2-8F05-3F2148302DA5}" type="presOf" srcId="{A2CAFB6C-BB54-47AE-A869-C3E2C485E8FB}" destId="{06B611E9-1BE4-43CC-97E8-DC30C05A5530}" srcOrd="0" destOrd="0" presId="urn:microsoft.com/office/officeart/2005/8/layout/arrow2"/>
    <dgm:cxn modelId="{E9804E76-F8C1-4220-B620-65524A5585EE}" type="presOf" srcId="{5608C347-AECF-4123-8BEB-AC5EFB3B8733}" destId="{ECBA6472-DBB3-462F-8EE6-E6EBFB4779A9}" srcOrd="0" destOrd="0" presId="urn:microsoft.com/office/officeart/2005/8/layout/arrow2"/>
    <dgm:cxn modelId="{E342A243-BD56-456A-81A8-98F42303355A}" type="presOf" srcId="{EAC74C40-49C6-4615-AB04-A4F8B15F902B}" destId="{2BF22FA8-0502-424B-94A8-D163B2D0DF13}" srcOrd="0" destOrd="0" presId="urn:microsoft.com/office/officeart/2005/8/layout/arrow2"/>
    <dgm:cxn modelId="{A9825D42-3CC9-462D-BE88-7D089F96F4E5}" srcId="{5608C347-AECF-4123-8BEB-AC5EFB3B8733}" destId="{86B77929-24DE-4C3C-AA70-08AF9669FDDC}" srcOrd="1" destOrd="0" parTransId="{5D8E5039-8539-4595-BC9D-230EF9A67979}" sibTransId="{6376BE6C-89A7-4B53-BE58-B179AD5C4D9E}"/>
    <dgm:cxn modelId="{B9442C32-F6F9-4E88-933C-2CE756EEEFA7}" type="presParOf" srcId="{ECBA6472-DBB3-462F-8EE6-E6EBFB4779A9}" destId="{2E64B535-EDC1-4A65-B2A3-0DB95B74ED03}" srcOrd="0" destOrd="0" presId="urn:microsoft.com/office/officeart/2005/8/layout/arrow2"/>
    <dgm:cxn modelId="{58D84B4C-5E1E-49D9-ACBD-FBE685CF9A47}" type="presParOf" srcId="{ECBA6472-DBB3-462F-8EE6-E6EBFB4779A9}" destId="{907D70B2-D690-4A8C-A6D8-7925E19B62BB}" srcOrd="1" destOrd="0" presId="urn:microsoft.com/office/officeart/2005/8/layout/arrow2"/>
    <dgm:cxn modelId="{DBF6CE2B-5F62-47EC-9476-DB273F765D8C}" type="presParOf" srcId="{907D70B2-D690-4A8C-A6D8-7925E19B62BB}" destId="{BF49F6DC-7369-4A15-B977-14A175FA6E6C}" srcOrd="0" destOrd="0" presId="urn:microsoft.com/office/officeart/2005/8/layout/arrow2"/>
    <dgm:cxn modelId="{2A339247-E72C-48CF-B437-9BF27B60C371}" type="presParOf" srcId="{907D70B2-D690-4A8C-A6D8-7925E19B62BB}" destId="{06B611E9-1BE4-43CC-97E8-DC30C05A5530}" srcOrd="1" destOrd="0" presId="urn:microsoft.com/office/officeart/2005/8/layout/arrow2"/>
    <dgm:cxn modelId="{2BFBD639-368F-4277-82F1-54333F3429FC}" type="presParOf" srcId="{907D70B2-D690-4A8C-A6D8-7925E19B62BB}" destId="{1FB9E937-B76B-4D35-ACD3-E5AF07FA825C}" srcOrd="2" destOrd="0" presId="urn:microsoft.com/office/officeart/2005/8/layout/arrow2"/>
    <dgm:cxn modelId="{207CA0C6-FA32-415E-9207-AC529DBBAD2B}" type="presParOf" srcId="{907D70B2-D690-4A8C-A6D8-7925E19B62BB}" destId="{15F5B0A0-7020-4DD0-A392-2028A54DAA08}" srcOrd="3" destOrd="0" presId="urn:microsoft.com/office/officeart/2005/8/layout/arrow2"/>
    <dgm:cxn modelId="{DF1EAB28-8955-45F3-A46E-30075716CF0C}" type="presParOf" srcId="{907D70B2-D690-4A8C-A6D8-7925E19B62BB}" destId="{B6DEB198-7820-49DB-8940-4801EA6D32EF}" srcOrd="4" destOrd="0" presId="urn:microsoft.com/office/officeart/2005/8/layout/arrow2"/>
    <dgm:cxn modelId="{882AE9AB-9701-408A-874A-DEB97203BD6E}" type="presParOf" srcId="{907D70B2-D690-4A8C-A6D8-7925E19B62BB}" destId="{2BF22FA8-0502-424B-94A8-D163B2D0DF13}" srcOrd="5" destOrd="0" presId="urn:microsoft.com/office/officeart/2005/8/layout/arrow2"/>
    <dgm:cxn modelId="{FE06BD3F-9C01-435D-B93D-5CBAC9878CFF}" type="presParOf" srcId="{907D70B2-D690-4A8C-A6D8-7925E19B62BB}" destId="{B388942A-54D2-47B4-AFB3-9E0D0554AF33}" srcOrd="6" destOrd="0" presId="urn:microsoft.com/office/officeart/2005/8/layout/arrow2"/>
    <dgm:cxn modelId="{C6664EB6-84AB-4F28-8189-94B627910375}" type="presParOf" srcId="{907D70B2-D690-4A8C-A6D8-7925E19B62BB}" destId="{9D1EFCEE-80FA-4398-A414-8B2E31D03A28}" srcOrd="7" destOrd="0" presId="urn:microsoft.com/office/officeart/2005/8/layout/arrow2"/>
    <dgm:cxn modelId="{5EB8A346-695F-441A-A090-B6425DE1E619}" type="presParOf" srcId="{907D70B2-D690-4A8C-A6D8-7925E19B62BB}" destId="{12E1BB6E-9441-4586-85C0-F3740B8AA435}" srcOrd="8" destOrd="0" presId="urn:microsoft.com/office/officeart/2005/8/layout/arrow2"/>
    <dgm:cxn modelId="{3AF463D0-D169-41E3-8FE3-430A48A5992B}" type="presParOf" srcId="{907D70B2-D690-4A8C-A6D8-7925E19B62BB}" destId="{B60126AC-D0A5-4E04-933B-5DE1FF3EDA9D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C1F04-3654-44B8-9784-47A7E7E04FCF}">
      <dsp:nvSpPr>
        <dsp:cNvPr id="0" name=""/>
        <dsp:cNvSpPr/>
      </dsp:nvSpPr>
      <dsp:spPr>
        <a:xfrm>
          <a:off x="0" y="37169"/>
          <a:ext cx="7445375" cy="617760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розрачные требования к данным</a:t>
          </a:r>
          <a:r>
            <a:rPr lang="en-US" sz="1800" b="1" kern="1200" dirty="0" smtClean="0"/>
            <a:t> </a:t>
          </a:r>
          <a:r>
            <a:rPr lang="ru-RU" sz="1800" b="1" kern="1200" dirty="0" smtClean="0"/>
            <a:t>соответствуют 421-П</a:t>
          </a:r>
          <a:endParaRPr lang="en-GB" sz="1800" b="1" kern="1200" dirty="0" smtClean="0"/>
        </a:p>
      </dsp:txBody>
      <dsp:txXfrm>
        <a:off x="30157" y="67326"/>
        <a:ext cx="7385061" cy="557446"/>
      </dsp:txXfrm>
    </dsp:sp>
    <dsp:sp modelId="{48C9DCFD-FE0A-4836-A047-EEB8DD9E8D88}">
      <dsp:nvSpPr>
        <dsp:cNvPr id="0" name=""/>
        <dsp:cNvSpPr/>
      </dsp:nvSpPr>
      <dsp:spPr>
        <a:xfrm>
          <a:off x="0" y="749970"/>
          <a:ext cx="7445375" cy="617760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Высокопроизводительные импорт и обработка</a:t>
          </a:r>
          <a:endParaRPr lang="en-GB" sz="1800" b="1" kern="1200" dirty="0" smtClean="0"/>
        </a:p>
      </dsp:txBody>
      <dsp:txXfrm>
        <a:off x="30157" y="780127"/>
        <a:ext cx="7385061" cy="557446"/>
      </dsp:txXfrm>
    </dsp:sp>
    <dsp:sp modelId="{723B18F7-131A-413B-ACF9-9850949745A4}">
      <dsp:nvSpPr>
        <dsp:cNvPr id="0" name=""/>
        <dsp:cNvSpPr/>
      </dsp:nvSpPr>
      <dsp:spPr>
        <a:xfrm>
          <a:off x="0" y="1462770"/>
          <a:ext cx="7445375" cy="617760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ткрытые настройки правил по 421-П</a:t>
          </a:r>
          <a:endParaRPr lang="en-US" sz="1800" b="1" kern="1200" dirty="0"/>
        </a:p>
      </dsp:txBody>
      <dsp:txXfrm>
        <a:off x="30157" y="1492927"/>
        <a:ext cx="7385061" cy="557446"/>
      </dsp:txXfrm>
    </dsp:sp>
    <dsp:sp modelId="{A3AFE93A-1328-4C83-87BF-FCDAF41ECB7E}">
      <dsp:nvSpPr>
        <dsp:cNvPr id="0" name=""/>
        <dsp:cNvSpPr/>
      </dsp:nvSpPr>
      <dsp:spPr>
        <a:xfrm>
          <a:off x="0" y="2175570"/>
          <a:ext cx="7445375" cy="617760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олностью автоматизированный процесс</a:t>
          </a:r>
          <a:endParaRPr lang="en-US" sz="1800" b="1" kern="1200" dirty="0"/>
        </a:p>
      </dsp:txBody>
      <dsp:txXfrm>
        <a:off x="30157" y="2205727"/>
        <a:ext cx="7385061" cy="557446"/>
      </dsp:txXfrm>
    </dsp:sp>
    <dsp:sp modelId="{F47342EF-015D-4230-A3F2-97971EA5A854}">
      <dsp:nvSpPr>
        <dsp:cNvPr id="0" name=""/>
        <dsp:cNvSpPr/>
      </dsp:nvSpPr>
      <dsp:spPr>
        <a:xfrm>
          <a:off x="0" y="2888370"/>
          <a:ext cx="7445375" cy="617760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пытная команда + проверенный план внедрения</a:t>
          </a:r>
          <a:endParaRPr lang="en-US" sz="1800" b="1" kern="1200" dirty="0"/>
        </a:p>
      </dsp:txBody>
      <dsp:txXfrm>
        <a:off x="30157" y="2918527"/>
        <a:ext cx="7385061" cy="5574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653CD0-2647-4A58-A448-892C1D9CB652}">
      <dsp:nvSpPr>
        <dsp:cNvPr id="0" name=""/>
        <dsp:cNvSpPr/>
      </dsp:nvSpPr>
      <dsp:spPr>
        <a:xfrm>
          <a:off x="0" y="747236"/>
          <a:ext cx="6716712" cy="996315"/>
        </a:xfrm>
        <a:prstGeom prst="notchedRightArrow">
          <a:avLst/>
        </a:prstGeom>
        <a:gradFill rotWithShape="0">
          <a:gsLst>
            <a:gs pos="0">
              <a:schemeClr val="accent3">
                <a:lumMod val="50000"/>
              </a:schemeClr>
            </a:gs>
            <a:gs pos="33000">
              <a:schemeClr val="accent6">
                <a:lumMod val="60000"/>
                <a:lumOff val="40000"/>
              </a:schemeClr>
            </a:gs>
            <a:gs pos="46750">
              <a:schemeClr val="accent6">
                <a:lumMod val="20000"/>
                <a:lumOff val="80000"/>
              </a:schemeClr>
            </a:gs>
            <a:gs pos="53000">
              <a:schemeClr val="accent6">
                <a:lumMod val="20000"/>
                <a:lumOff val="80000"/>
              </a:schemeClr>
            </a:gs>
            <a:gs pos="68000">
              <a:schemeClr val="accent6">
                <a:lumMod val="60000"/>
                <a:lumOff val="40000"/>
              </a:schemeClr>
            </a:gs>
            <a:gs pos="100000">
              <a:schemeClr val="accent3">
                <a:lumMod val="75000"/>
              </a:schemeClr>
            </a:gs>
          </a:gsLst>
          <a:lin ang="8350000" scaled="1"/>
        </a:gradFill>
        <a:ln>
          <a:noFill/>
        </a:ln>
        <a:effectLst>
          <a:outerShdw blurRad="190500" dist="228600" dir="2700000" sy="90000" rotWithShape="0">
            <a:srgbClr val="000000">
              <a:alpha val="25500"/>
            </a:srgbClr>
          </a:outerShdw>
        </a:effectLst>
        <a:scene3d>
          <a:camera prst="orthographicFront" fov="0">
            <a:rot lat="0" lon="0" rev="0"/>
          </a:camera>
          <a:lightRig rig="soft" dir="tl">
            <a:rot lat="0" lon="0" rev="20100000"/>
          </a:lightRig>
        </a:scene3d>
        <a:sp3d>
          <a:bevelT w="50800" h="508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</dsp:sp>
    <dsp:sp modelId="{AD5BD37C-ACC8-49DD-B91E-D310BB587523}">
      <dsp:nvSpPr>
        <dsp:cNvPr id="0" name=""/>
        <dsp:cNvSpPr/>
      </dsp:nvSpPr>
      <dsp:spPr>
        <a:xfrm>
          <a:off x="1883" y="0"/>
          <a:ext cx="1133445" cy="996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Импорт данных</a:t>
          </a:r>
          <a:endParaRPr lang="en-GB" sz="1200" kern="1200" dirty="0"/>
        </a:p>
      </dsp:txBody>
      <dsp:txXfrm>
        <a:off x="1883" y="0"/>
        <a:ext cx="1133445" cy="996315"/>
      </dsp:txXfrm>
    </dsp:sp>
    <dsp:sp modelId="{8DA16B2C-0BF9-4D27-AD8A-F62D655A5235}">
      <dsp:nvSpPr>
        <dsp:cNvPr id="0" name=""/>
        <dsp:cNvSpPr/>
      </dsp:nvSpPr>
      <dsp:spPr>
        <a:xfrm>
          <a:off x="444066" y="1120854"/>
          <a:ext cx="249078" cy="2490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A91B09-25DC-499E-946F-5AA9EC303C15}">
      <dsp:nvSpPr>
        <dsp:cNvPr id="0" name=""/>
        <dsp:cNvSpPr/>
      </dsp:nvSpPr>
      <dsp:spPr>
        <a:xfrm>
          <a:off x="1192000" y="1494472"/>
          <a:ext cx="1133445" cy="996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алидация данных</a:t>
          </a:r>
          <a:endParaRPr lang="en-GB" sz="1200" kern="1200" dirty="0"/>
        </a:p>
      </dsp:txBody>
      <dsp:txXfrm>
        <a:off x="1192000" y="1494472"/>
        <a:ext cx="1133445" cy="996315"/>
      </dsp:txXfrm>
    </dsp:sp>
    <dsp:sp modelId="{DFD7D1B9-CBDF-4F66-B033-22072B26CE3F}">
      <dsp:nvSpPr>
        <dsp:cNvPr id="0" name=""/>
        <dsp:cNvSpPr/>
      </dsp:nvSpPr>
      <dsp:spPr>
        <a:xfrm>
          <a:off x="1634183" y="1120854"/>
          <a:ext cx="249078" cy="2490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E6B6B1-B034-41E7-B3FC-BE1805A89716}">
      <dsp:nvSpPr>
        <dsp:cNvPr id="0" name=""/>
        <dsp:cNvSpPr/>
      </dsp:nvSpPr>
      <dsp:spPr>
        <a:xfrm>
          <a:off x="2382118" y="0"/>
          <a:ext cx="1133445" cy="996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богащение и классифи-кация данных</a:t>
          </a:r>
          <a:endParaRPr lang="en-GB" sz="1200" kern="1200" dirty="0"/>
        </a:p>
      </dsp:txBody>
      <dsp:txXfrm>
        <a:off x="2382118" y="0"/>
        <a:ext cx="1133445" cy="996315"/>
      </dsp:txXfrm>
    </dsp:sp>
    <dsp:sp modelId="{62837ADB-C12D-40C4-8020-386ADE42EDC2}">
      <dsp:nvSpPr>
        <dsp:cNvPr id="0" name=""/>
        <dsp:cNvSpPr/>
      </dsp:nvSpPr>
      <dsp:spPr>
        <a:xfrm>
          <a:off x="2824301" y="1120854"/>
          <a:ext cx="249078" cy="2490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69FE7B-F518-4C9B-8FDE-DC2884BCDC22}">
      <dsp:nvSpPr>
        <dsp:cNvPr id="0" name=""/>
        <dsp:cNvSpPr/>
      </dsp:nvSpPr>
      <dsp:spPr>
        <a:xfrm>
          <a:off x="3572235" y="1494472"/>
          <a:ext cx="1133445" cy="996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асчет ПКЛ</a:t>
          </a:r>
          <a:endParaRPr lang="en-GB" sz="1200" kern="1200" dirty="0"/>
        </a:p>
      </dsp:txBody>
      <dsp:txXfrm>
        <a:off x="3572235" y="1494472"/>
        <a:ext cx="1133445" cy="996315"/>
      </dsp:txXfrm>
    </dsp:sp>
    <dsp:sp modelId="{B81BC59B-1EA6-415B-9387-0A89F037F60E}">
      <dsp:nvSpPr>
        <dsp:cNvPr id="0" name=""/>
        <dsp:cNvSpPr/>
      </dsp:nvSpPr>
      <dsp:spPr>
        <a:xfrm>
          <a:off x="4014418" y="1120854"/>
          <a:ext cx="249078" cy="2490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C9CFA0-DCBA-4ADF-A885-4657A515EDDD}">
      <dsp:nvSpPr>
        <dsp:cNvPr id="0" name=""/>
        <dsp:cNvSpPr/>
      </dsp:nvSpPr>
      <dsp:spPr>
        <a:xfrm>
          <a:off x="4762353" y="0"/>
          <a:ext cx="1280804" cy="996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ормирование отчета</a:t>
          </a:r>
          <a:endParaRPr lang="en-GB" sz="1200" kern="1200" dirty="0"/>
        </a:p>
      </dsp:txBody>
      <dsp:txXfrm>
        <a:off x="4762353" y="0"/>
        <a:ext cx="1280804" cy="996315"/>
      </dsp:txXfrm>
    </dsp:sp>
    <dsp:sp modelId="{E56E9834-6E34-44A7-9B3D-1D9E4D464D36}">
      <dsp:nvSpPr>
        <dsp:cNvPr id="0" name=""/>
        <dsp:cNvSpPr/>
      </dsp:nvSpPr>
      <dsp:spPr>
        <a:xfrm>
          <a:off x="5278215" y="1120854"/>
          <a:ext cx="249078" cy="2490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79681A-BC18-470D-BCAC-98FFC284899F}">
      <dsp:nvSpPr>
        <dsp:cNvPr id="0" name=""/>
        <dsp:cNvSpPr/>
      </dsp:nvSpPr>
      <dsp:spPr>
        <a:xfrm>
          <a:off x="13268" y="634"/>
          <a:ext cx="872950" cy="872950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strike="noStrike" kern="1200" baseline="0" dirty="0" smtClean="0"/>
            <a:t>ВЛА – 1</a:t>
          </a:r>
          <a:endParaRPr lang="en-US" sz="1600" strike="noStrike" kern="1200" baseline="0" dirty="0"/>
        </a:p>
      </dsp:txBody>
      <dsp:txXfrm>
        <a:off x="141109" y="128475"/>
        <a:ext cx="617268" cy="617268"/>
      </dsp:txXfrm>
    </dsp:sp>
    <dsp:sp modelId="{28E19084-3D61-4A06-81AF-B6248C495B69}">
      <dsp:nvSpPr>
        <dsp:cNvPr id="0" name=""/>
        <dsp:cNvSpPr/>
      </dsp:nvSpPr>
      <dsp:spPr>
        <a:xfrm>
          <a:off x="957102" y="183953"/>
          <a:ext cx="506311" cy="506311"/>
        </a:xfrm>
        <a:prstGeom prst="mathPlus">
          <a:avLst/>
        </a:prstGeom>
        <a:solidFill>
          <a:srgbClr val="E94952"/>
        </a:solidFill>
        <a:ln>
          <a:solidFill>
            <a:srgbClr val="E94952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strike="noStrike" kern="1200" baseline="0"/>
        </a:p>
      </dsp:txBody>
      <dsp:txXfrm>
        <a:off x="1024214" y="377566"/>
        <a:ext cx="372087" cy="119085"/>
      </dsp:txXfrm>
    </dsp:sp>
    <dsp:sp modelId="{F8F31D42-1C2F-4B4D-AF73-046211C58D04}">
      <dsp:nvSpPr>
        <dsp:cNvPr id="0" name=""/>
        <dsp:cNvSpPr/>
      </dsp:nvSpPr>
      <dsp:spPr>
        <a:xfrm>
          <a:off x="1534297" y="634"/>
          <a:ext cx="872950" cy="872950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strike="noStrike" kern="1200" baseline="0" dirty="0" smtClean="0"/>
            <a:t>ВЛА-2А</a:t>
          </a:r>
          <a:endParaRPr lang="en-US" sz="1600" strike="noStrike" kern="1200" baseline="0" dirty="0"/>
        </a:p>
      </dsp:txBody>
      <dsp:txXfrm>
        <a:off x="1662138" y="128475"/>
        <a:ext cx="617268" cy="617268"/>
      </dsp:txXfrm>
    </dsp:sp>
    <dsp:sp modelId="{C516CEA4-20C2-409E-8FF5-ACF026C2B4A7}">
      <dsp:nvSpPr>
        <dsp:cNvPr id="0" name=""/>
        <dsp:cNvSpPr/>
      </dsp:nvSpPr>
      <dsp:spPr>
        <a:xfrm>
          <a:off x="2478131" y="183953"/>
          <a:ext cx="506311" cy="506311"/>
        </a:xfrm>
        <a:prstGeom prst="mathPlus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2545243" y="377566"/>
        <a:ext cx="372087" cy="119085"/>
      </dsp:txXfrm>
    </dsp:sp>
    <dsp:sp modelId="{795D8204-B0C2-4FE0-AB2A-885BD13BF6B4}">
      <dsp:nvSpPr>
        <dsp:cNvPr id="0" name=""/>
        <dsp:cNvSpPr/>
      </dsp:nvSpPr>
      <dsp:spPr>
        <a:xfrm>
          <a:off x="3055326" y="634"/>
          <a:ext cx="872950" cy="872950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strike="noStrike" kern="1200" baseline="0" dirty="0" smtClean="0"/>
            <a:t>ВЛА-2Б</a:t>
          </a:r>
          <a:endParaRPr lang="en-US" sz="1600" strike="noStrike" kern="1200" baseline="0" dirty="0"/>
        </a:p>
      </dsp:txBody>
      <dsp:txXfrm>
        <a:off x="3183167" y="128475"/>
        <a:ext cx="617268" cy="617268"/>
      </dsp:txXfrm>
    </dsp:sp>
    <dsp:sp modelId="{881C00A3-4ADB-421B-8E6B-12F8CE193B70}">
      <dsp:nvSpPr>
        <dsp:cNvPr id="0" name=""/>
        <dsp:cNvSpPr/>
      </dsp:nvSpPr>
      <dsp:spPr>
        <a:xfrm>
          <a:off x="3999160" y="183953"/>
          <a:ext cx="506311" cy="506311"/>
        </a:xfrm>
        <a:prstGeom prst="mathMinus">
          <a:avLst/>
        </a:prstGeom>
        <a:solidFill>
          <a:srgbClr val="E94952"/>
        </a:solidFill>
        <a:ln>
          <a:solidFill>
            <a:srgbClr val="E94952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strike="noStrike" kern="1200" baseline="0"/>
        </a:p>
      </dsp:txBody>
      <dsp:txXfrm>
        <a:off x="4066272" y="377566"/>
        <a:ext cx="372087" cy="119085"/>
      </dsp:txXfrm>
    </dsp:sp>
    <dsp:sp modelId="{72345A92-DFCB-4975-B3AA-3BD0A2E2065D}">
      <dsp:nvSpPr>
        <dsp:cNvPr id="0" name=""/>
        <dsp:cNvSpPr/>
      </dsp:nvSpPr>
      <dsp:spPr>
        <a:xfrm>
          <a:off x="4536606" y="0"/>
          <a:ext cx="872950" cy="872950"/>
        </a:xfrm>
        <a:prstGeom prst="flowChartAlternateProcess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strike="noStrike" kern="1200" baseline="0" dirty="0" smtClean="0"/>
            <a:t>ВК</a:t>
          </a:r>
          <a:endParaRPr lang="en-US" sz="1600" strike="noStrike" kern="1200" baseline="0" dirty="0"/>
        </a:p>
      </dsp:txBody>
      <dsp:txXfrm>
        <a:off x="4579219" y="42613"/>
        <a:ext cx="787724" cy="787724"/>
      </dsp:txXfrm>
    </dsp:sp>
    <dsp:sp modelId="{890EB9CA-AF83-4A7D-BBF8-719285EB9B23}">
      <dsp:nvSpPr>
        <dsp:cNvPr id="0" name=""/>
        <dsp:cNvSpPr/>
      </dsp:nvSpPr>
      <dsp:spPr>
        <a:xfrm>
          <a:off x="5520188" y="183953"/>
          <a:ext cx="506311" cy="506311"/>
        </a:xfrm>
        <a:prstGeom prst="mathEqual">
          <a:avLst/>
        </a:prstGeom>
        <a:solidFill>
          <a:srgbClr val="E94952"/>
        </a:solidFill>
        <a:ln>
          <a:solidFill>
            <a:srgbClr val="E94952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strike="noStrike" kern="1200" baseline="0"/>
        </a:p>
      </dsp:txBody>
      <dsp:txXfrm>
        <a:off x="5587300" y="288253"/>
        <a:ext cx="372087" cy="297711"/>
      </dsp:txXfrm>
    </dsp:sp>
    <dsp:sp modelId="{54DAAFD3-98D6-46A7-8159-84321A95C594}">
      <dsp:nvSpPr>
        <dsp:cNvPr id="0" name=""/>
        <dsp:cNvSpPr/>
      </dsp:nvSpPr>
      <dsp:spPr>
        <a:xfrm>
          <a:off x="6097383" y="634"/>
          <a:ext cx="872950" cy="872950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strike="noStrike" kern="1200" baseline="0" dirty="0" smtClean="0"/>
            <a:t>HQLA</a:t>
          </a:r>
          <a:endParaRPr lang="en-US" sz="1600" strike="noStrike" kern="1200" baseline="0" dirty="0"/>
        </a:p>
      </dsp:txBody>
      <dsp:txXfrm>
        <a:off x="6225224" y="128475"/>
        <a:ext cx="617268" cy="61726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3612C3-778E-4FD9-8CEA-648CB633967B}">
      <dsp:nvSpPr>
        <dsp:cNvPr id="0" name=""/>
        <dsp:cNvSpPr/>
      </dsp:nvSpPr>
      <dsp:spPr>
        <a:xfrm>
          <a:off x="29245" y="244887"/>
          <a:ext cx="1309892" cy="744955"/>
        </a:xfrm>
        <a:prstGeom prst="flowChartAlternateProcess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ООДС (</a:t>
          </a:r>
          <a:r>
            <a:rPr lang="en-US" sz="1600" kern="1200" dirty="0" smtClean="0"/>
            <a:t>outflow)</a:t>
          </a:r>
          <a:endParaRPr lang="en-US" sz="1600" kern="1200" dirty="0"/>
        </a:p>
      </dsp:txBody>
      <dsp:txXfrm>
        <a:off x="65610" y="281252"/>
        <a:ext cx="1237162" cy="672225"/>
      </dsp:txXfrm>
    </dsp:sp>
    <dsp:sp modelId="{F508BF90-D5F0-4F5C-A1EC-443635DC2240}">
      <dsp:nvSpPr>
        <dsp:cNvPr id="0" name=""/>
        <dsp:cNvSpPr/>
      </dsp:nvSpPr>
      <dsp:spPr>
        <a:xfrm>
          <a:off x="1401621" y="350053"/>
          <a:ext cx="604475" cy="534623"/>
        </a:xfrm>
        <a:prstGeom prst="mathMinus">
          <a:avLst/>
        </a:prstGeom>
        <a:solidFill>
          <a:srgbClr val="E9495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</dsp:txBody>
      <dsp:txXfrm>
        <a:off x="1481744" y="554493"/>
        <a:ext cx="444229" cy="125743"/>
      </dsp:txXfrm>
    </dsp:sp>
    <dsp:sp modelId="{0657E037-5689-4FEA-B1E6-479112C1D594}">
      <dsp:nvSpPr>
        <dsp:cNvPr id="0" name=""/>
        <dsp:cNvSpPr/>
      </dsp:nvSpPr>
      <dsp:spPr>
        <a:xfrm>
          <a:off x="2124579" y="185138"/>
          <a:ext cx="1383192" cy="864454"/>
        </a:xfrm>
        <a:prstGeom prst="flowChartAlternateProcess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in (</a:t>
          </a:r>
          <a:r>
            <a:rPr lang="ru-RU" sz="1600" kern="1200" dirty="0" smtClean="0"/>
            <a:t>ОПДС </a:t>
          </a:r>
          <a:r>
            <a:rPr lang="en-US" sz="1600" kern="1200" dirty="0" smtClean="0"/>
            <a:t>(inflows) – 75% </a:t>
          </a:r>
          <a:r>
            <a:rPr lang="ru-RU" sz="1600" kern="1200" dirty="0" smtClean="0"/>
            <a:t>ООДС</a:t>
          </a:r>
          <a:r>
            <a:rPr lang="en-US" sz="1600" kern="1200" dirty="0" smtClean="0"/>
            <a:t>)</a:t>
          </a:r>
          <a:endParaRPr lang="en-US" sz="1600" kern="1200" dirty="0"/>
        </a:p>
      </dsp:txBody>
      <dsp:txXfrm>
        <a:off x="2166777" y="227336"/>
        <a:ext cx="1298796" cy="780058"/>
      </dsp:txXfrm>
    </dsp:sp>
    <dsp:sp modelId="{27B1F273-0C1A-40E4-978D-BE106A8F4CAA}">
      <dsp:nvSpPr>
        <dsp:cNvPr id="0" name=""/>
        <dsp:cNvSpPr/>
      </dsp:nvSpPr>
      <dsp:spPr>
        <a:xfrm>
          <a:off x="3570254" y="379864"/>
          <a:ext cx="524799" cy="475001"/>
        </a:xfrm>
        <a:prstGeom prst="mathEqual">
          <a:avLst/>
        </a:prstGeom>
        <a:solidFill>
          <a:srgbClr val="E9495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3639816" y="477714"/>
        <a:ext cx="385675" cy="279301"/>
      </dsp:txXfrm>
    </dsp:sp>
    <dsp:sp modelId="{B58AF1FF-6F08-421D-BAC3-2DC4AA7CFC54}">
      <dsp:nvSpPr>
        <dsp:cNvPr id="0" name=""/>
        <dsp:cNvSpPr/>
      </dsp:nvSpPr>
      <dsp:spPr>
        <a:xfrm>
          <a:off x="4185536" y="60206"/>
          <a:ext cx="1114318" cy="1114318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ЧООДС</a:t>
          </a:r>
          <a:endParaRPr lang="en-US" sz="1600" kern="1200" dirty="0"/>
        </a:p>
      </dsp:txBody>
      <dsp:txXfrm>
        <a:off x="4348724" y="223394"/>
        <a:ext cx="787942" cy="78794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BCC6A2-DB4F-4A02-8E22-11BA05CCE894}">
      <dsp:nvSpPr>
        <dsp:cNvPr id="0" name=""/>
        <dsp:cNvSpPr/>
      </dsp:nvSpPr>
      <dsp:spPr>
        <a:xfrm>
          <a:off x="0" y="1000687"/>
          <a:ext cx="1664415" cy="665766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bg1"/>
              </a:solidFill>
            </a:rPr>
            <a:t>Импорт данных</a:t>
          </a:r>
          <a:endParaRPr lang="en-GB" sz="1200" kern="1200" dirty="0">
            <a:solidFill>
              <a:schemeClr val="bg1"/>
            </a:solidFill>
          </a:endParaRPr>
        </a:p>
      </dsp:txBody>
      <dsp:txXfrm>
        <a:off x="332883" y="1000687"/>
        <a:ext cx="998649" cy="665766"/>
      </dsp:txXfrm>
    </dsp:sp>
    <dsp:sp modelId="{17760118-092D-47DA-9065-ABC118F1DDA6}">
      <dsp:nvSpPr>
        <dsp:cNvPr id="0" name=""/>
        <dsp:cNvSpPr/>
      </dsp:nvSpPr>
      <dsp:spPr>
        <a:xfrm>
          <a:off x="1497974" y="1000687"/>
          <a:ext cx="1664415" cy="665766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bg1"/>
              </a:solidFill>
            </a:rPr>
            <a:t>Валидация данных</a:t>
          </a:r>
          <a:endParaRPr lang="en-GB" sz="1200" kern="1200" dirty="0">
            <a:solidFill>
              <a:schemeClr val="bg1"/>
            </a:solidFill>
          </a:endParaRPr>
        </a:p>
      </dsp:txBody>
      <dsp:txXfrm>
        <a:off x="1830857" y="1000687"/>
        <a:ext cx="998649" cy="665766"/>
      </dsp:txXfrm>
    </dsp:sp>
    <dsp:sp modelId="{BCF420E3-EBF2-4FE3-874D-6AFE4B5E7E4A}">
      <dsp:nvSpPr>
        <dsp:cNvPr id="0" name=""/>
        <dsp:cNvSpPr/>
      </dsp:nvSpPr>
      <dsp:spPr>
        <a:xfrm>
          <a:off x="2995948" y="1000687"/>
          <a:ext cx="1664415" cy="665766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bg1"/>
              </a:solidFill>
            </a:rPr>
            <a:t>Классифи-кация данных</a:t>
          </a:r>
          <a:endParaRPr lang="en-GB" sz="1200" kern="1200" dirty="0">
            <a:solidFill>
              <a:schemeClr val="bg1"/>
            </a:solidFill>
          </a:endParaRPr>
        </a:p>
      </dsp:txBody>
      <dsp:txXfrm>
        <a:off x="3328831" y="1000687"/>
        <a:ext cx="998649" cy="665766"/>
      </dsp:txXfrm>
    </dsp:sp>
    <dsp:sp modelId="{2C84A938-B89D-40C2-A7D2-F04B406EB127}">
      <dsp:nvSpPr>
        <dsp:cNvPr id="0" name=""/>
        <dsp:cNvSpPr/>
      </dsp:nvSpPr>
      <dsp:spPr>
        <a:xfrm>
          <a:off x="4493921" y="1000687"/>
          <a:ext cx="1664415" cy="665766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bg1"/>
              </a:solidFill>
            </a:rPr>
            <a:t>Расчет ПКЛ</a:t>
          </a:r>
          <a:endParaRPr lang="en-GB" sz="1200" kern="1200" dirty="0">
            <a:solidFill>
              <a:schemeClr val="bg1"/>
            </a:solidFill>
          </a:endParaRPr>
        </a:p>
      </dsp:txBody>
      <dsp:txXfrm>
        <a:off x="4826804" y="1000687"/>
        <a:ext cx="998649" cy="665766"/>
      </dsp:txXfrm>
    </dsp:sp>
    <dsp:sp modelId="{C3504563-4ECD-449F-964A-43E4A358C4F5}">
      <dsp:nvSpPr>
        <dsp:cNvPr id="0" name=""/>
        <dsp:cNvSpPr/>
      </dsp:nvSpPr>
      <dsp:spPr>
        <a:xfrm>
          <a:off x="5993764" y="1000687"/>
          <a:ext cx="1664415" cy="665766"/>
        </a:xfrm>
        <a:prstGeom prst="chevron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  <a:scene3d>
          <a:camera prst="orthographicFront"/>
          <a:lightRig rig="threePt" dir="t"/>
        </a:scene3d>
        <a:sp3d>
          <a:bevelT w="152400" h="50800" prst="softRound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bg1"/>
              </a:solidFill>
            </a:rPr>
            <a:t>Формирова-ние отчета</a:t>
          </a:r>
          <a:endParaRPr lang="en-GB" sz="1200" kern="1200" dirty="0">
            <a:solidFill>
              <a:schemeClr val="bg1"/>
            </a:solidFill>
          </a:endParaRPr>
        </a:p>
      </dsp:txBody>
      <dsp:txXfrm>
        <a:off x="6326647" y="1000687"/>
        <a:ext cx="998649" cy="66576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64B535-EDC1-4A65-B2A3-0DB95B74ED03}">
      <dsp:nvSpPr>
        <dsp:cNvPr id="0" name=""/>
        <dsp:cNvSpPr/>
      </dsp:nvSpPr>
      <dsp:spPr>
        <a:xfrm>
          <a:off x="1420393" y="0"/>
          <a:ext cx="3931920" cy="245745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49F6DC-7369-4A15-B977-14A175FA6E6C}">
      <dsp:nvSpPr>
        <dsp:cNvPr id="0" name=""/>
        <dsp:cNvSpPr/>
      </dsp:nvSpPr>
      <dsp:spPr>
        <a:xfrm>
          <a:off x="1807687" y="1827359"/>
          <a:ext cx="90434" cy="904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611E9-1BE4-43CC-97E8-DC30C05A5530}">
      <dsp:nvSpPr>
        <dsp:cNvPr id="0" name=""/>
        <dsp:cNvSpPr/>
      </dsp:nvSpPr>
      <dsp:spPr>
        <a:xfrm>
          <a:off x="2025230" y="1990727"/>
          <a:ext cx="2456567" cy="386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919" tIns="0" rIns="0" bIns="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азвертывание решения</a:t>
          </a:r>
          <a:endParaRPr lang="en-US" sz="1200" kern="1200" dirty="0"/>
        </a:p>
      </dsp:txBody>
      <dsp:txXfrm>
        <a:off x="2025230" y="1990727"/>
        <a:ext cx="2456567" cy="386671"/>
      </dsp:txXfrm>
    </dsp:sp>
    <dsp:sp modelId="{1FB9E937-B76B-4D35-ACD3-E5AF07FA825C}">
      <dsp:nvSpPr>
        <dsp:cNvPr id="0" name=""/>
        <dsp:cNvSpPr/>
      </dsp:nvSpPr>
      <dsp:spPr>
        <a:xfrm>
          <a:off x="2297211" y="1357003"/>
          <a:ext cx="141549" cy="14154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F5B0A0-7020-4DD0-A392-2028A54DAA08}">
      <dsp:nvSpPr>
        <dsp:cNvPr id="0" name=""/>
        <dsp:cNvSpPr/>
      </dsp:nvSpPr>
      <dsp:spPr>
        <a:xfrm>
          <a:off x="2477740" y="1552579"/>
          <a:ext cx="4008111" cy="7229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5004" tIns="0" rIns="0" bIns="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Интеграция в среду банка</a:t>
          </a:r>
          <a:endParaRPr lang="en-US" sz="1200" kern="1200" dirty="0"/>
        </a:p>
      </dsp:txBody>
      <dsp:txXfrm>
        <a:off x="2477740" y="1552579"/>
        <a:ext cx="4008111" cy="722922"/>
      </dsp:txXfrm>
    </dsp:sp>
    <dsp:sp modelId="{B6DEB198-7820-49DB-8940-4801EA6D32EF}">
      <dsp:nvSpPr>
        <dsp:cNvPr id="0" name=""/>
        <dsp:cNvSpPr/>
      </dsp:nvSpPr>
      <dsp:spPr>
        <a:xfrm>
          <a:off x="2926318" y="981997"/>
          <a:ext cx="188732" cy="1887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22FA8-0502-424B-94A8-D163B2D0DF13}">
      <dsp:nvSpPr>
        <dsp:cNvPr id="0" name=""/>
        <dsp:cNvSpPr/>
      </dsp:nvSpPr>
      <dsp:spPr>
        <a:xfrm>
          <a:off x="3147835" y="1238274"/>
          <a:ext cx="2529289" cy="5048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005" tIns="0" rIns="0" bIns="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Анализ специфики банка</a:t>
          </a:r>
          <a:endParaRPr lang="en-US" sz="1200" kern="1200" dirty="0"/>
        </a:p>
      </dsp:txBody>
      <dsp:txXfrm>
        <a:off x="3147835" y="1238274"/>
        <a:ext cx="2529289" cy="504801"/>
      </dsp:txXfrm>
    </dsp:sp>
    <dsp:sp modelId="{B388942A-54D2-47B4-AFB3-9E0D0554AF33}">
      <dsp:nvSpPr>
        <dsp:cNvPr id="0" name=""/>
        <dsp:cNvSpPr/>
      </dsp:nvSpPr>
      <dsp:spPr>
        <a:xfrm>
          <a:off x="3657655" y="689068"/>
          <a:ext cx="243779" cy="2437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1EFCEE-80FA-4398-A414-8B2E31D03A28}">
      <dsp:nvSpPr>
        <dsp:cNvPr id="0" name=""/>
        <dsp:cNvSpPr/>
      </dsp:nvSpPr>
      <dsp:spPr>
        <a:xfrm>
          <a:off x="3926300" y="990598"/>
          <a:ext cx="2581148" cy="11729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173" tIns="0" rIns="0" bIns="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Адаптация к специфике банка</a:t>
          </a:r>
          <a:endParaRPr lang="en-US" sz="1200" kern="1200" dirty="0"/>
        </a:p>
      </dsp:txBody>
      <dsp:txXfrm>
        <a:off x="3926300" y="990598"/>
        <a:ext cx="2581148" cy="1172911"/>
      </dsp:txXfrm>
    </dsp:sp>
    <dsp:sp modelId="{12E1BB6E-9441-4586-85C0-F3740B8AA435}">
      <dsp:nvSpPr>
        <dsp:cNvPr id="0" name=""/>
        <dsp:cNvSpPr/>
      </dsp:nvSpPr>
      <dsp:spPr>
        <a:xfrm>
          <a:off x="4410618" y="493455"/>
          <a:ext cx="310621" cy="3106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0126AC-D0A5-4E04-933B-5DE1FF3EDA9D}">
      <dsp:nvSpPr>
        <dsp:cNvPr id="0" name=""/>
        <dsp:cNvSpPr/>
      </dsp:nvSpPr>
      <dsp:spPr>
        <a:xfrm>
          <a:off x="4707501" y="537098"/>
          <a:ext cx="1883798" cy="66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4592" tIns="0" rIns="0" bIns="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бучение и тестирование</a:t>
          </a:r>
          <a:endParaRPr lang="en-US" sz="1200" kern="1200" dirty="0"/>
        </a:p>
      </dsp:txBody>
      <dsp:txXfrm>
        <a:off x="4707501" y="537098"/>
        <a:ext cx="1883798" cy="6657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4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88.emf"/><Relationship Id="rId2" Type="http://schemas.openxmlformats.org/officeDocument/2006/relationships/image" Target="../media/image87.png"/><Relationship Id="rId1" Type="http://schemas.openxmlformats.org/officeDocument/2006/relationships/image" Target="../media/image86.png"/><Relationship Id="rId5" Type="http://schemas.openxmlformats.org/officeDocument/2006/relationships/image" Target="../media/image90.png"/><Relationship Id="rId4" Type="http://schemas.openxmlformats.org/officeDocument/2006/relationships/image" Target="../media/image8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56E02-F797-3A44-A4E2-46F38ED33211}" type="datetime1">
              <a:rPr lang="en-GB" smtClean="0"/>
              <a:t>04/09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E45D17-455F-CB48-809C-6A52063FB93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1276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AC2D6B-9246-6A44-9915-13D951619570}" type="datetime1">
              <a:rPr lang="en-GB" smtClean="0"/>
              <a:t>04/09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627A2-B021-F045-836D-EF8E23CEEA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9332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baseline="0" dirty="0" smtClean="0"/>
              <a:t>INTRO: HOLDING PAGE (MISYS ANIMATION)</a:t>
            </a:r>
          </a:p>
          <a:p>
            <a:endParaRPr lang="en-US" b="1" baseline="0" dirty="0" smtClean="0"/>
          </a:p>
          <a:p>
            <a:pPr marL="0" indent="0">
              <a:buFont typeface="Arial"/>
              <a:buNone/>
            </a:pPr>
            <a:r>
              <a:rPr lang="en-US" b="0" i="0" dirty="0" smtClean="0"/>
              <a:t>The purpose of this page is to introduce Misys brand awareness to the audience prior to your </a:t>
            </a:r>
            <a:r>
              <a:rPr lang="en-US" b="0" i="0" baseline="0" dirty="0" smtClean="0"/>
              <a:t>presentation. </a:t>
            </a:r>
          </a:p>
          <a:p>
            <a:pPr marL="0" indent="0">
              <a:buFont typeface="Arial"/>
              <a:buNone/>
            </a:pPr>
            <a:endParaRPr lang="en-US" b="0" i="0" baseline="0" dirty="0" smtClean="0"/>
          </a:p>
          <a:p>
            <a:pPr marL="171450" indent="-171450">
              <a:buFont typeface="Arial"/>
              <a:buChar char="•"/>
            </a:pPr>
            <a:r>
              <a:rPr lang="en-US" b="0" baseline="0" dirty="0" smtClean="0"/>
              <a:t>This should be the starting slide for every presentation you make (CLICK TO RUN ANIMATION)</a:t>
            </a:r>
          </a:p>
          <a:p>
            <a:pPr marL="0" indent="0">
              <a:buFont typeface="Arial"/>
              <a:buNone/>
            </a:pPr>
            <a:endParaRPr lang="en-US" b="0" i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78836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erformance, advantages of parallel import. No needs to aggreg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8775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scussion</a:t>
            </a:r>
            <a:r>
              <a:rPr lang="en-US" baseline="0" dirty="0" smtClean="0"/>
              <a:t> on the data treatment.  Expected question: what is calculated by Fusion risk and which attributes are provided by the ban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4091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</a:t>
            </a:r>
            <a:r>
              <a:rPr lang="en-US" baseline="0" dirty="0" smtClean="0"/>
              <a:t> black boxes. Full clearance of rul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98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r>
              <a:rPr lang="en-US" dirty="0" smtClean="0"/>
              <a:t>Report generated by</a:t>
            </a:r>
            <a:r>
              <a:rPr lang="en-US" baseline="0" dirty="0" smtClean="0"/>
              <a:t> MFR. Why do not we generate forms 122?  Because the bank do not want it yet. We can transform the report both into form 122 and into the file for </a:t>
            </a:r>
            <a:r>
              <a:rPr lang="en-US" baseline="0" dirty="0" err="1" smtClean="0"/>
              <a:t>Kliko</a:t>
            </a:r>
            <a:r>
              <a:rPr lang="en-US" baseline="0" dirty="0" smtClean="0"/>
              <a:t> when it is announc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ADF6B6-7E6E-4AA1-8CA7-5EDFE6C87CC0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rocess of</a:t>
            </a:r>
            <a:r>
              <a:rPr lang="en-GB" baseline="0" dirty="0" smtClean="0"/>
              <a:t> data treatment/</a:t>
            </a:r>
            <a:r>
              <a:rPr lang="en-GB" baseline="0" dirty="0" err="1" smtClean="0"/>
              <a:t>calcualtions</a:t>
            </a:r>
            <a:r>
              <a:rPr lang="en-GB" baseline="0" dirty="0" smtClean="0"/>
              <a:t>/report </a:t>
            </a:r>
            <a:r>
              <a:rPr lang="en-GB" baseline="0" dirty="0" err="1" smtClean="0"/>
              <a:t>generatoin</a:t>
            </a:r>
            <a:r>
              <a:rPr lang="en-GB" baseline="0" dirty="0" smtClean="0"/>
              <a:t> is fully automa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171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9664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2027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583"/>
            <a:ext cx="5029200" cy="411443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CA1D83B-9DFA-4ACA-BF8C-6F0668E3B0CE}" type="slidenum">
              <a:rPr lang="en-GB" smtClean="0">
                <a:ea typeface="MS PGothic" pitchFamily="34" charset="-128"/>
              </a:rPr>
              <a:pPr/>
              <a:t>22</a:t>
            </a:fld>
            <a:endParaRPr lang="en-GB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baseline="0" dirty="0" smtClean="0"/>
              <a:t>END SLIDE: MISYS ANIMATION</a:t>
            </a:r>
          </a:p>
          <a:p>
            <a:endParaRPr lang="en-US" b="1" baseline="0" dirty="0" smtClean="0"/>
          </a:p>
          <a:p>
            <a:pPr marL="171450" indent="-171450">
              <a:buFont typeface="Arial"/>
              <a:buChar char="•"/>
            </a:pPr>
            <a:r>
              <a:rPr lang="en-US" dirty="0" smtClean="0"/>
              <a:t>This is the closing slide for your presentation </a:t>
            </a:r>
            <a:r>
              <a:rPr lang="en-US" b="0" baseline="0" dirty="0" smtClean="0"/>
              <a:t>CLICK TO RUN ANIMATION)</a:t>
            </a:r>
          </a:p>
          <a:p>
            <a:pPr marL="171450" indent="-171450">
              <a:buFont typeface="Arial"/>
              <a:buChar char="•"/>
            </a:pPr>
            <a:r>
              <a:rPr lang="en-US" b="0" baseline="0" dirty="0" smtClean="0"/>
              <a:t>Social media links has been provide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een policy </a:t>
            </a:r>
            <a:r>
              <a:rPr lang="en-US" b="0" baseline="0" dirty="0" smtClean="0"/>
              <a:t>has been provide</a:t>
            </a:r>
          </a:p>
          <a:p>
            <a:pPr marL="171450" marR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baseline="0" dirty="0" smtClean="0"/>
          </a:p>
          <a:p>
            <a:pPr marL="171450" indent="-171450">
              <a:buFont typeface="Arial"/>
              <a:buChar char="•"/>
            </a:pPr>
            <a:endParaRPr lang="en-US" b="0" baseline="0" dirty="0" smtClean="0"/>
          </a:p>
          <a:p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="1" baseline="0" dirty="0" smtClean="0"/>
              <a:t>END SLIDE TEXT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 b="1" baseline="0" dirty="0" smtClean="0"/>
          </a:p>
          <a:p>
            <a:pPr marL="171450" indent="-171450">
              <a:buFont typeface="Arial"/>
              <a:buChar char="•"/>
            </a:pPr>
            <a:r>
              <a:rPr lang="en-US" baseline="0" dirty="0" smtClean="0"/>
              <a:t>Please add your Name / Title / Email address (font size always Misys Black / 14pt)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760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227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needs to educate what LCR is and why it should be calculated. The main driver now is regulatory pressure. Here we just mention what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nnk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of Russia requires in terms of LCR and repeat what is Bank of Russia’s target – to go to Basel standard.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have the solution with strong proven Basel experi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202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227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isys solution’s advantages: ready solution good for Russian LCR, fully automated calculations, reduced project risks, local and international experience, 2 LCRs</a:t>
            </a:r>
            <a:r>
              <a:rPr lang="en-US" baseline="0" dirty="0" smtClean="0"/>
              <a:t> in parall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54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baseline="0" dirty="0" smtClean="0"/>
              <a:t>Specifying product:</a:t>
            </a:r>
          </a:p>
          <a:p>
            <a:endParaRPr lang="en-GB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Write the specification of the POWEREQUITY instrument payoff on a whiteboard/flipchar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Price = </a:t>
            </a:r>
            <a:r>
              <a:rPr lang="en-GB" baseline="0" dirty="0" err="1" smtClean="0"/>
              <a:t>nbShares</a:t>
            </a:r>
            <a:r>
              <a:rPr lang="en-GB" baseline="0" dirty="0" smtClean="0"/>
              <a:t> * (beta_1*x_1^p_1) * (beta_2*x_2^p_2) * … * (</a:t>
            </a:r>
            <a:r>
              <a:rPr lang="en-GB" baseline="0" dirty="0" err="1" smtClean="0"/>
              <a:t>beta_n</a:t>
            </a:r>
            <a:r>
              <a:rPr lang="en-GB" baseline="0" dirty="0" smtClean="0"/>
              <a:t>*</a:t>
            </a:r>
            <a:r>
              <a:rPr lang="en-GB" baseline="0" dirty="0" err="1" smtClean="0"/>
              <a:t>x_n^p_n</a:t>
            </a:r>
            <a:r>
              <a:rPr lang="en-GB" baseline="0" dirty="0" smtClean="0"/>
              <a:t>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at </a:t>
            </a:r>
            <a:r>
              <a:rPr lang="en-GB" baseline="0" dirty="0" err="1" smtClean="0"/>
              <a:t>x_i</a:t>
            </a:r>
            <a:r>
              <a:rPr lang="en-GB" baseline="0" dirty="0" smtClean="0"/>
              <a:t> is specified 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Asset na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Asset typ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Asset currency</a:t>
            </a:r>
          </a:p>
          <a:p>
            <a:endParaRPr lang="en-GB" baseline="0" dirty="0" smtClean="0"/>
          </a:p>
          <a:p>
            <a:r>
              <a:rPr lang="en-GB" b="1" baseline="0" dirty="0" smtClean="0"/>
              <a:t>Coding the pricing function:</a:t>
            </a:r>
          </a:p>
          <a:p>
            <a:endParaRPr lang="en-GB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reate a new pricing function in folder TEST with name POWEREQU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Insert the code and explain the different state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reate a trade format sample. Fill in test value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assets.coeff</a:t>
            </a:r>
            <a:r>
              <a:rPr lang="en-GB" baseline="0" dirty="0" smtClean="0"/>
              <a:t>=1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assets.assetCurrency</a:t>
            </a:r>
            <a:r>
              <a:rPr lang="en-GB" baseline="0" dirty="0" smtClean="0"/>
              <a:t>=EU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assets.power</a:t>
            </a:r>
            <a:r>
              <a:rPr lang="en-GB" baseline="0" dirty="0" smtClean="0"/>
              <a:t>=1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assets.assetName</a:t>
            </a:r>
            <a:r>
              <a:rPr lang="en-GB" baseline="0" dirty="0" smtClean="0"/>
              <a:t>=INTE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err="1" smtClean="0"/>
              <a:t>assets.assetType</a:t>
            </a:r>
            <a:r>
              <a:rPr lang="en-GB" baseline="0" dirty="0" smtClean="0"/>
              <a:t>=EQU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BS=BU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ares=1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urrency=US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elect pricing currency USD and scenario store UNIPOL_PFE to get the pric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hange trade characteristics to see price change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GB" b="1" baseline="0" dirty="0" smtClean="0"/>
              <a:t>Creating the API contract: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GB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lick on Edit Contrac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Insert a documentation for the produc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lick on Publish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at now the contract + pricing function is created for the </a:t>
            </a:r>
            <a:r>
              <a:rPr lang="en-GB" baseline="0" dirty="0" err="1" smtClean="0"/>
              <a:t>pricer</a:t>
            </a:r>
            <a:r>
              <a:rPr lang="en-GB" baseline="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the API documentation (/1.0/contract) and show that POWEREQUITY is now part of the documentation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GB" b="1" baseline="0" dirty="0" smtClean="0"/>
              <a:t>Inserting trades: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GB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the pre-specified sample trade in an editor. Explain the trade characteristic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REST API client. Import the trade into </a:t>
            </a:r>
            <a:r>
              <a:rPr lang="en-GB" baseline="0" dirty="0" err="1" smtClean="0"/>
              <a:t>FusionRisk</a:t>
            </a:r>
            <a:r>
              <a:rPr lang="en-GB" baseline="0" dirty="0" smtClean="0"/>
              <a:t> database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Go back to scripting interface and select the trade POW:1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ow again the trade characteristic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ow the pricing result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GB" b="1" baseline="0" dirty="0" smtClean="0"/>
              <a:t>Run MRPs with new products: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GB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MRP UNIPOL_MC_MP_POW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ow the Deal Filter and explain that only the new imported trade will be selected for pricing in MP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at the remaining parts of the MRP are identical to all other MC MRP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lick on Apply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Check the MRP processing in Statu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</a:t>
            </a:r>
            <a:r>
              <a:rPr lang="en-GB" baseline="0" dirty="0" err="1" smtClean="0"/>
              <a:t>VaR</a:t>
            </a:r>
            <a:r>
              <a:rPr lang="en-GB" baseline="0" dirty="0" smtClean="0"/>
              <a:t> dashboard </a:t>
            </a:r>
            <a:r>
              <a:rPr lang="en-GB" baseline="0" dirty="0" err="1" smtClean="0"/>
              <a:t>Unipol_POWEREQUITY</a:t>
            </a:r>
            <a:r>
              <a:rPr lang="en-GB" baseline="0" dirty="0" smtClean="0"/>
              <a:t> in folder </a:t>
            </a:r>
            <a:r>
              <a:rPr lang="en-GB" baseline="0" dirty="0" err="1" smtClean="0"/>
              <a:t>UnipolSai</a:t>
            </a:r>
            <a:r>
              <a:rPr lang="en-GB" baseline="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GB" b="1" baseline="0" dirty="0" smtClean="0"/>
              <a:t>Walkthrough of Life Liabilities instrument: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GB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ow </a:t>
            </a:r>
            <a:r>
              <a:rPr lang="en-GB" baseline="0" dirty="0" err="1" smtClean="0"/>
              <a:t>LiabilityExample.json</a:t>
            </a:r>
            <a:r>
              <a:rPr lang="en-GB" baseline="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e general trade attributes (alpha, </a:t>
            </a:r>
            <a:r>
              <a:rPr lang="en-GB" baseline="0" dirty="0" err="1" smtClean="0"/>
              <a:t>sigmaL</a:t>
            </a:r>
            <a:r>
              <a:rPr lang="en-GB" baseline="0" dirty="0" smtClean="0"/>
              <a:t>, etc.)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e arbitrary number of risk factors per risk type (</a:t>
            </a:r>
            <a:r>
              <a:rPr lang="en-GB" baseline="0" dirty="0" err="1" smtClean="0"/>
              <a:t>interestRates</a:t>
            </a:r>
            <a:r>
              <a:rPr lang="en-GB" baseline="0" dirty="0" smtClean="0"/>
              <a:t>, assets, </a:t>
            </a:r>
            <a:r>
              <a:rPr lang="en-GB" baseline="0" dirty="0" err="1" smtClean="0"/>
              <a:t>fxRates</a:t>
            </a:r>
            <a:r>
              <a:rPr lang="en-GB" baseline="0" dirty="0" smtClean="0"/>
              <a:t>)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Explain the arbitrary number of risk drivers with different number of risk factor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Show </a:t>
            </a:r>
            <a:r>
              <a:rPr lang="en-GB" baseline="0" dirty="0" err="1" smtClean="0"/>
              <a:t>Liabilities.psl</a:t>
            </a:r>
            <a:r>
              <a:rPr lang="en-GB" baseline="0" dirty="0" smtClean="0"/>
              <a:t>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Go through function </a:t>
            </a:r>
            <a:r>
              <a:rPr lang="en-GB" baseline="0" dirty="0" err="1" smtClean="0"/>
              <a:t>getRiskFactorValues</a:t>
            </a:r>
            <a:r>
              <a:rPr lang="en-GB" baseline="0" dirty="0" smtClean="0"/>
              <a:t>() and explain the initialisation of risk factor array with scenario values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Go through function </a:t>
            </a:r>
            <a:r>
              <a:rPr lang="en-GB" baseline="0" dirty="0" err="1" smtClean="0"/>
              <a:t>polynomialFunction</a:t>
            </a:r>
            <a:r>
              <a:rPr lang="en-GB" baseline="0" dirty="0" smtClean="0"/>
              <a:t>() and explain the two nested loop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2027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F</a:t>
            </a:r>
            <a:r>
              <a:rPr lang="en-US" baseline="0" dirty="0" smtClean="0"/>
              <a:t> at a gl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8244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ta import – discussion on the required data. Alfa</a:t>
            </a:r>
            <a:r>
              <a:rPr lang="en-US" baseline="0" dirty="0" smtClean="0"/>
              <a:t> bank provides the data in the data mart. Some access – liability parameters are calculated in FR (depreciation e.g.) , some are delivered by the bank (distantly managed deposits 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257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tailed spec of the required data. It is time consuming to create such a document fully compliant with 421-P. The bank will receive it as a part of delivery pack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D627A2-B021-F045-836D-EF8E23CEEA11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7603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image" Target="../media/image2.png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5" Type="http://schemas.openxmlformats.org/officeDocument/2006/relationships/image" Target="../media/image24.pn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21.png"/><Relationship Id="rId18" Type="http://schemas.openxmlformats.org/officeDocument/2006/relationships/image" Target="../media/image11.png"/><Relationship Id="rId26" Type="http://schemas.openxmlformats.org/officeDocument/2006/relationships/image" Target="../media/image30.emf"/><Relationship Id="rId3" Type="http://schemas.openxmlformats.org/officeDocument/2006/relationships/image" Target="../media/image9.png"/><Relationship Id="rId21" Type="http://schemas.openxmlformats.org/officeDocument/2006/relationships/image" Target="../media/image14.png"/><Relationship Id="rId7" Type="http://schemas.openxmlformats.org/officeDocument/2006/relationships/image" Target="../media/image5.png"/><Relationship Id="rId12" Type="http://schemas.openxmlformats.org/officeDocument/2006/relationships/image" Target="../media/image22.png"/><Relationship Id="rId17" Type="http://schemas.openxmlformats.org/officeDocument/2006/relationships/image" Target="../media/image10.png"/><Relationship Id="rId25" Type="http://schemas.openxmlformats.org/officeDocument/2006/relationships/image" Target="../media/image24.png"/><Relationship Id="rId2" Type="http://schemas.openxmlformats.org/officeDocument/2006/relationships/image" Target="../media/image1.png"/><Relationship Id="rId16" Type="http://schemas.openxmlformats.org/officeDocument/2006/relationships/image" Target="../media/image18.png"/><Relationship Id="rId20" Type="http://schemas.openxmlformats.org/officeDocument/2006/relationships/image" Target="../media/image13.png"/><Relationship Id="rId29" Type="http://schemas.openxmlformats.org/officeDocument/2006/relationships/hyperlink" Target="http://www.linkedin.com/company/misys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image" Target="../media/image23.png"/><Relationship Id="rId24" Type="http://schemas.openxmlformats.org/officeDocument/2006/relationships/image" Target="../media/image17.png"/><Relationship Id="rId32" Type="http://schemas.openxmlformats.org/officeDocument/2006/relationships/image" Target="../media/image33.png"/><Relationship Id="rId5" Type="http://schemas.openxmlformats.org/officeDocument/2006/relationships/image" Target="../media/image3.png"/><Relationship Id="rId15" Type="http://schemas.openxmlformats.org/officeDocument/2006/relationships/image" Target="../media/image19.png"/><Relationship Id="rId23" Type="http://schemas.openxmlformats.org/officeDocument/2006/relationships/image" Target="../media/image16.png"/><Relationship Id="rId28" Type="http://schemas.openxmlformats.org/officeDocument/2006/relationships/image" Target="../media/image31.png"/><Relationship Id="rId10" Type="http://schemas.openxmlformats.org/officeDocument/2006/relationships/image" Target="../media/image8.png"/><Relationship Id="rId19" Type="http://schemas.openxmlformats.org/officeDocument/2006/relationships/image" Target="../media/image12.png"/><Relationship Id="rId31" Type="http://schemas.openxmlformats.org/officeDocument/2006/relationships/hyperlink" Target="http://www.youtube.com/user/MisysVideoChannel" TargetMode="External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20.png"/><Relationship Id="rId22" Type="http://schemas.openxmlformats.org/officeDocument/2006/relationships/image" Target="../media/image15.png"/><Relationship Id="rId27" Type="http://schemas.openxmlformats.org/officeDocument/2006/relationships/hyperlink" Target="https://twitter.com/MisysFS" TargetMode="External"/><Relationship Id="rId30" Type="http://schemas.openxmlformats.org/officeDocument/2006/relationships/image" Target="../media/image32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(Ris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Straight Connector 31"/>
          <p:cNvCxnSpPr>
            <a:cxnSpLocks/>
            <a:endCxn id="36" idx="0"/>
          </p:cNvCxnSpPr>
          <p:nvPr userDrawn="1"/>
        </p:nvCxnSpPr>
        <p:spPr>
          <a:xfrm>
            <a:off x="-325438" y="423864"/>
            <a:ext cx="4035426" cy="1117600"/>
          </a:xfrm>
          <a:prstGeom prst="line">
            <a:avLst/>
          </a:prstGeom>
          <a:ln w="28575" cap="rnd" cmpd="sng">
            <a:solidFill>
              <a:srgbClr val="41404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5788025" y="3435350"/>
            <a:ext cx="3671888" cy="2208213"/>
          </a:xfrm>
          <a:prstGeom prst="line">
            <a:avLst/>
          </a:prstGeom>
          <a:ln w="28575" cap="rnd" cmpd="sng">
            <a:solidFill>
              <a:srgbClr val="272727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Connect_Innovate_Expand-0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538" y="1541464"/>
            <a:ext cx="342900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 descr="Connect_Innovate_Expand-0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188" y="1541464"/>
            <a:ext cx="284162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5" descr="Connect_Innovate_Expand-03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352" y="1541464"/>
            <a:ext cx="284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6" descr="Connect_Innovate_Expand-04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852" y="1541464"/>
            <a:ext cx="284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7" descr="Connect_Innovate_Expand-05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713" y="1541464"/>
            <a:ext cx="284162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8" descr="Connect_Innovate_Expand-06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4452" y="1541464"/>
            <a:ext cx="284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9" descr="Connect_Innovate_Expand-07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615" y="1541464"/>
            <a:ext cx="211137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40" descr="Connect_Innovate_Expand-08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2" y="1422401"/>
            <a:ext cx="227013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1" descr="Connect_Innovate_Expand-09.pn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490" y="2200276"/>
            <a:ext cx="1428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2" descr="Connect_Innovate_Expand-10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115" y="2200276"/>
            <a:ext cx="2571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3" descr="Connect_Innovate_Expand-11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677" y="2200276"/>
            <a:ext cx="2571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4" descr="Connect_Innovate_Expand-12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838" y="2200276"/>
            <a:ext cx="296862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5" descr="Connect_Innovate_Expand-13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702" y="2200276"/>
            <a:ext cx="277813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46" descr="Connect_Innovate_Expand-14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13" y="2200276"/>
            <a:ext cx="2476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47" descr="Connect_Innovate_Expand-15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163" y="2200276"/>
            <a:ext cx="1841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48" descr="Connect_Innovate_Expand-16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5113" y="2200276"/>
            <a:ext cx="271462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9" descr="Connect_Innovate_Expand-17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25" y="2778126"/>
            <a:ext cx="3127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50" descr="Connect_Innovate_Expand-18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0" y="2778126"/>
            <a:ext cx="3127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1" descr="Connect_Innovate_Expand-19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165" y="2778126"/>
            <a:ext cx="3127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52" descr="Connect_Innovate_Expand-20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700" y="2778126"/>
            <a:ext cx="312738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53" descr="Connect_Innovate_Expand-21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590" y="2778126"/>
            <a:ext cx="3127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54" descr="Connect_Innovate_Expand-22.png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315" y="2778126"/>
            <a:ext cx="3127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5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 descr="Misys_Logo_strap_90Black.png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163" y="2065338"/>
            <a:ext cx="330835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323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">
        <p:fade/>
      </p:transition>
    </mc:Choice>
    <mc:Fallback xmlns="">
      <p:transition xmlns:p14="http://schemas.microsoft.com/office/powerpoint/2010/main" spd="med" advClick="0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1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1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1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8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1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4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4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3000"/>
                            </p:stCondLst>
                            <p:childTnLst>
                              <p:par>
                                <p:cTn id="7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201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strips dir="rd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01229"/>
            <a:ext cx="6646032" cy="4191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465667" y="4724129"/>
            <a:ext cx="1800000" cy="270000"/>
          </a:xfrm>
          <a:prstGeom prst="rect">
            <a:avLst/>
          </a:prstGeom>
        </p:spPr>
        <p:txBody>
          <a:bodyPr/>
          <a:lstStyle/>
          <a:p>
            <a:fld id="{7C05930A-DED2-436E-8D17-D1063F099D24}" type="datetime2">
              <a:rPr lang="en-GB" smtClean="0"/>
              <a:pPr/>
              <a:t>Friday, 04 September 2015</a:t>
            </a:fld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7004322" y="4724129"/>
            <a:ext cx="1800000" cy="270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Slide </a:t>
            </a:r>
            <a:fld id="{FAF050B4-FDDA-4E0F-A9F9-89D45DD6CFFB}" type="slidenum">
              <a:rPr lang="en-GB" smtClean="0"/>
              <a:pPr/>
              <a:t>‹#›</a:t>
            </a:fld>
            <a:r>
              <a:rPr lang="en-GB" dirty="0" smtClean="0"/>
              <a:t>      </a:t>
            </a:r>
            <a:r>
              <a:rPr lang="en-GB" dirty="0" smtClean="0">
                <a:cs typeface="Arial"/>
              </a:rPr>
              <a:t>© MISYS 2013</a:t>
            </a:r>
            <a:endParaRPr lang="en-GB" dirty="0" smtClean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69392" y="4718018"/>
            <a:ext cx="8346784" cy="2382"/>
          </a:xfrm>
          <a:prstGeom prst="line">
            <a:avLst/>
          </a:prstGeom>
          <a:ln w="381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5138" y="973931"/>
            <a:ext cx="8350250" cy="3744516"/>
          </a:xfrm>
          <a:prstGeom prst="rect">
            <a:avLst/>
          </a:prstGeom>
        </p:spPr>
        <p:txBody>
          <a:bodyPr/>
          <a:lstStyle>
            <a:lvl1pPr marL="179388" indent="-179388">
              <a:defRPr sz="1800">
                <a:solidFill>
                  <a:schemeClr val="tx1"/>
                </a:solidFill>
              </a:defRPr>
            </a:lvl1pPr>
            <a:lvl2pPr marL="717550" indent="-269875">
              <a:defRPr>
                <a:solidFill>
                  <a:schemeClr val="tx1"/>
                </a:solidFill>
              </a:defRPr>
            </a:lvl2pPr>
            <a:lvl3pPr marL="1076325" indent="-161925"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108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strips dir="rd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Ris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 descr="Misys_Logo_strap_90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360000"/>
            <a:ext cx="1311353" cy="360000"/>
          </a:xfrm>
          <a:prstGeom prst="rect">
            <a:avLst/>
          </a:prstGeom>
        </p:spPr>
      </p:pic>
      <p:sp>
        <p:nvSpPr>
          <p:cNvPr id="8" name="Title 31"/>
          <p:cNvSpPr>
            <a:spLocks noGrp="1"/>
          </p:cNvSpPr>
          <p:nvPr>
            <p:ph type="title" hasCustomPrompt="1"/>
          </p:nvPr>
        </p:nvSpPr>
        <p:spPr>
          <a:xfrm>
            <a:off x="1995822" y="1348105"/>
            <a:ext cx="5991713" cy="1231106"/>
          </a:xfrm>
          <a:prstGeom prst="rect">
            <a:avLst/>
          </a:prstGeom>
          <a:ln w="12700" cap="rnd" cmpd="sng">
            <a:noFill/>
            <a:prstDash val="sysDot"/>
          </a:ln>
        </p:spPr>
        <p:txBody>
          <a:bodyPr vert="horz" wrap="square" lIns="0" tIns="0" rIns="0" bIns="0"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title style Click to edit Master title style </a:t>
            </a:r>
            <a:endParaRPr lang="en-GB" dirty="0"/>
          </a:p>
        </p:txBody>
      </p:sp>
      <p:sp>
        <p:nvSpPr>
          <p:cNvPr id="9" name="Content Placeholder 38"/>
          <p:cNvSpPr>
            <a:spLocks noGrp="1"/>
          </p:cNvSpPr>
          <p:nvPr>
            <p:ph sz="quarter" idx="10" hasCustomPrompt="1"/>
          </p:nvPr>
        </p:nvSpPr>
        <p:spPr>
          <a:xfrm>
            <a:off x="3509392" y="2768755"/>
            <a:ext cx="3843338" cy="710552"/>
          </a:xfrm>
          <a:prstGeom prst="rect">
            <a:avLst/>
          </a:prstGeom>
          <a:ln w="12700" cap="rnd" cmpd="sng">
            <a:solidFill>
              <a:schemeClr val="tx1"/>
            </a:solidFill>
            <a:prstDash val="sysDot"/>
          </a:ln>
        </p:spPr>
        <p:txBody>
          <a:bodyPr vert="horz" lIns="108000" tIns="108000" rIns="108000" bIns="108000" anchor="b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rgbClr val="414141"/>
                </a:solidFill>
              </a:defRPr>
            </a:lvl1pPr>
          </a:lstStyle>
          <a:p>
            <a:pPr lvl="0"/>
            <a:r>
              <a:rPr lang="en-GB" dirty="0" smtClean="0"/>
              <a:t>Name Surname </a:t>
            </a:r>
          </a:p>
          <a:p>
            <a:pPr lvl="0"/>
            <a:r>
              <a:rPr lang="en-GB" dirty="0" smtClean="0"/>
              <a:t>XXXXXX Job title XXXXXXXX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901" y="3954994"/>
            <a:ext cx="1440000" cy="1188507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7352732" y="3479307"/>
            <a:ext cx="634803" cy="791904"/>
          </a:xfrm>
          <a:prstGeom prst="line">
            <a:avLst/>
          </a:prstGeom>
          <a:ln w="12700" cap="rnd" cmpd="sng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06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(Ris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5507775" y="0"/>
            <a:ext cx="3636224" cy="5143500"/>
            <a:chOff x="5507775" y="0"/>
            <a:chExt cx="3636224" cy="5143500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3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07775" y="1"/>
              <a:ext cx="3636224" cy="5143498"/>
            </a:xfrm>
            <a:prstGeom prst="rect">
              <a:avLst/>
            </a:prstGeom>
            <a:effectLst/>
          </p:spPr>
        </p:pic>
        <p:sp>
          <p:nvSpPr>
            <p:cNvPr id="13" name="Rectangle 12"/>
            <p:cNvSpPr/>
            <p:nvPr userDrawn="1"/>
          </p:nvSpPr>
          <p:spPr>
            <a:xfrm>
              <a:off x="5507775" y="0"/>
              <a:ext cx="3250988" cy="5143500"/>
            </a:xfrm>
            <a:prstGeom prst="rect">
              <a:avLst/>
            </a:pr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chemeClr val="bg1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60000" y="957106"/>
            <a:ext cx="5400000" cy="374342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414141"/>
                </a:solidFill>
              </a:defRPr>
            </a:lvl1pPr>
            <a:lvl2pPr>
              <a:defRPr sz="1400">
                <a:solidFill>
                  <a:srgbClr val="414141"/>
                </a:solidFill>
              </a:defRPr>
            </a:lvl2pPr>
            <a:lvl3pPr>
              <a:defRPr sz="1200">
                <a:solidFill>
                  <a:srgbClr val="414141"/>
                </a:solidFill>
              </a:defRPr>
            </a:lvl3pPr>
            <a:lvl4pPr>
              <a:defRPr sz="1000">
                <a:solidFill>
                  <a:srgbClr val="414141"/>
                </a:solidFill>
              </a:defRPr>
            </a:lvl4pPr>
            <a:lvl5pPr>
              <a:defRPr sz="800">
                <a:solidFill>
                  <a:srgbClr val="41414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9738" y="4855500"/>
            <a:ext cx="261457" cy="216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 marL="0" algn="r">
              <a:defRPr sz="800">
                <a:solidFill>
                  <a:srgbClr val="414141"/>
                </a:solidFill>
              </a:defRPr>
            </a:lvl1pPr>
          </a:lstStyle>
          <a:p>
            <a:fld id="{FD2C15F2-42FE-A944-9743-3E35339DA74A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 descr="Misys_Logo_strap_90Black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929" y="4855500"/>
            <a:ext cx="786812" cy="21600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8519736" y="4783500"/>
            <a:ext cx="0" cy="360000"/>
          </a:xfrm>
          <a:prstGeom prst="line">
            <a:avLst/>
          </a:prstGeom>
          <a:ln w="9525" cmpd="sng">
            <a:solidFill>
              <a:srgbClr val="41414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360000" y="813106"/>
            <a:ext cx="84240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r>
              <a:rPr lang="en-GB" dirty="0" smtClean="0"/>
              <a:t>© Misys</a:t>
            </a:r>
            <a:endParaRPr lang="en-GB" baseline="30000" dirty="0" smtClean="0"/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31777" y="4888286"/>
            <a:ext cx="0" cy="163497"/>
          </a:xfrm>
          <a:prstGeom prst="line">
            <a:avLst/>
          </a:prstGeom>
          <a:ln w="6350" cap="rnd" cmpd="sng">
            <a:solidFill>
              <a:srgbClr val="41414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93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(Ris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" y="1"/>
            <a:ext cx="9143426" cy="5143499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926782" y="2529321"/>
            <a:ext cx="6854411" cy="1587670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rgbClr val="414141"/>
                </a:solidFill>
              </a:defRPr>
            </a:lvl1pPr>
            <a:lvl2pPr>
              <a:defRPr sz="1800">
                <a:solidFill>
                  <a:srgbClr val="414141"/>
                </a:solidFill>
              </a:defRPr>
            </a:lvl2pPr>
            <a:lvl3pPr>
              <a:defRPr sz="1200">
                <a:solidFill>
                  <a:srgbClr val="414141"/>
                </a:solidFill>
              </a:defRPr>
            </a:lvl3pPr>
            <a:lvl4pPr>
              <a:defRPr sz="1000">
                <a:solidFill>
                  <a:srgbClr val="414141"/>
                </a:solidFill>
              </a:defRPr>
            </a:lvl4pPr>
            <a:lvl5pPr>
              <a:defRPr sz="800">
                <a:solidFill>
                  <a:srgbClr val="41414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27169" y="1406337"/>
            <a:ext cx="6856831" cy="89304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3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r>
              <a:rPr lang="en-GB" dirty="0" smtClean="0"/>
              <a:t>© Misys</a:t>
            </a:r>
            <a:endParaRPr lang="en-GB" baseline="30000" dirty="0" smtClean="0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831777" y="4888286"/>
            <a:ext cx="0" cy="163497"/>
          </a:xfrm>
          <a:prstGeom prst="line">
            <a:avLst/>
          </a:prstGeom>
          <a:ln w="6350" cap="rnd" cmpd="sng">
            <a:solidFill>
              <a:srgbClr val="41414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Misys_Logo_strap_90Black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360000"/>
            <a:ext cx="1311353" cy="3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901" y="3954994"/>
            <a:ext cx="1440000" cy="11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5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9738" y="4783500"/>
            <a:ext cx="261457" cy="360001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 marL="0" algn="r">
              <a:defRPr sz="800">
                <a:solidFill>
                  <a:srgbClr val="414141"/>
                </a:solidFill>
              </a:defRPr>
            </a:lvl1pPr>
          </a:lstStyle>
          <a:p>
            <a:fld id="{FD2C15F2-42FE-A944-9743-3E35339DA74A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1" name="Picture 20" descr="Misys_Logo_strap_90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929" y="4855500"/>
            <a:ext cx="786812" cy="216000"/>
          </a:xfrm>
          <a:prstGeom prst="rect">
            <a:avLst/>
          </a:prstGeom>
        </p:spPr>
      </p:pic>
      <p:cxnSp>
        <p:nvCxnSpPr>
          <p:cNvPr id="26" name="Straight Connector 25"/>
          <p:cNvCxnSpPr/>
          <p:nvPr userDrawn="1"/>
        </p:nvCxnSpPr>
        <p:spPr>
          <a:xfrm>
            <a:off x="8519736" y="4783500"/>
            <a:ext cx="0" cy="36000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60001" y="957106"/>
            <a:ext cx="8421193" cy="354289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414141"/>
                </a:solidFill>
              </a:defRPr>
            </a:lvl1pPr>
            <a:lvl2pPr>
              <a:defRPr sz="1400">
                <a:solidFill>
                  <a:srgbClr val="414141"/>
                </a:solidFill>
              </a:defRPr>
            </a:lvl2pPr>
            <a:lvl3pPr>
              <a:defRPr sz="1200">
                <a:solidFill>
                  <a:srgbClr val="414141"/>
                </a:solidFill>
              </a:defRPr>
            </a:lvl3pPr>
            <a:lvl4pPr>
              <a:defRPr sz="1000">
                <a:solidFill>
                  <a:srgbClr val="414141"/>
                </a:solidFill>
              </a:defRPr>
            </a:lvl4pPr>
            <a:lvl5pPr>
              <a:defRPr sz="800">
                <a:solidFill>
                  <a:srgbClr val="41414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60000" y="813106"/>
            <a:ext cx="84240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r>
              <a:rPr lang="en-GB" dirty="0" smtClean="0"/>
              <a:t>© Misys</a:t>
            </a:r>
            <a:endParaRPr lang="en-GB" baseline="30000" dirty="0" smtClean="0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831777" y="4888286"/>
            <a:ext cx="0" cy="163497"/>
          </a:xfrm>
          <a:prstGeom prst="line">
            <a:avLst/>
          </a:prstGeom>
          <a:ln w="6350" cap="rnd" cmpd="sng">
            <a:solidFill>
              <a:srgbClr val="41414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888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With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9738" y="4783500"/>
            <a:ext cx="261457" cy="360001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 marL="0" algn="r">
              <a:defRPr sz="800">
                <a:solidFill>
                  <a:srgbClr val="414141"/>
                </a:solidFill>
              </a:defRPr>
            </a:lvl1pPr>
          </a:lstStyle>
          <a:p>
            <a:fld id="{FD2C15F2-42FE-A944-9743-3E35339DA74A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1" name="Picture 20" descr="Misys_Logo_strap_90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929" y="4855500"/>
            <a:ext cx="786812" cy="216000"/>
          </a:xfrm>
          <a:prstGeom prst="rect">
            <a:avLst/>
          </a:prstGeom>
        </p:spPr>
      </p:pic>
      <p:cxnSp>
        <p:nvCxnSpPr>
          <p:cNvPr id="26" name="Straight Connector 25"/>
          <p:cNvCxnSpPr/>
          <p:nvPr userDrawn="1"/>
        </p:nvCxnSpPr>
        <p:spPr>
          <a:xfrm>
            <a:off x="8519736" y="4783500"/>
            <a:ext cx="0" cy="36000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60001" y="957106"/>
            <a:ext cx="8421193" cy="354289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414141"/>
                </a:solidFill>
              </a:defRPr>
            </a:lvl1pPr>
            <a:lvl2pPr>
              <a:defRPr sz="1400">
                <a:solidFill>
                  <a:srgbClr val="414141"/>
                </a:solidFill>
              </a:defRPr>
            </a:lvl2pPr>
            <a:lvl3pPr>
              <a:defRPr sz="1200">
                <a:solidFill>
                  <a:srgbClr val="414141"/>
                </a:solidFill>
              </a:defRPr>
            </a:lvl3pPr>
            <a:lvl4pPr>
              <a:defRPr sz="1000">
                <a:solidFill>
                  <a:srgbClr val="414141"/>
                </a:solidFill>
              </a:defRPr>
            </a:lvl4pPr>
            <a:lvl5pPr>
              <a:defRPr sz="800">
                <a:solidFill>
                  <a:srgbClr val="41414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000" b="0">
                <a:solidFill>
                  <a:srgbClr val="41414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60000" y="813106"/>
            <a:ext cx="84240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r>
              <a:rPr lang="en-GB" dirty="0" smtClean="0"/>
              <a:t>© Misys</a:t>
            </a:r>
            <a:endParaRPr lang="en-GB" baseline="30000" dirty="0" smtClean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rgbClr val="414141"/>
                </a:solidFill>
              </a:defRPr>
            </a:lvl1pPr>
          </a:lstStyle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831777" y="4888286"/>
            <a:ext cx="0" cy="163497"/>
          </a:xfrm>
          <a:prstGeom prst="line">
            <a:avLst/>
          </a:prstGeom>
          <a:ln w="6350" cap="rnd" cmpd="sng">
            <a:solidFill>
              <a:srgbClr val="41414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52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Ris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0" name="Straight Connector 59"/>
          <p:cNvCxnSpPr>
            <a:cxnSpLocks/>
          </p:cNvCxnSpPr>
          <p:nvPr userDrawn="1"/>
        </p:nvCxnSpPr>
        <p:spPr>
          <a:xfrm>
            <a:off x="-325438" y="447675"/>
            <a:ext cx="4035426" cy="1093788"/>
          </a:xfrm>
          <a:prstGeom prst="line">
            <a:avLst/>
          </a:prstGeom>
          <a:ln w="28575" cap="rnd" cmpd="sng">
            <a:solidFill>
              <a:srgbClr val="41404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5788025" y="3435350"/>
            <a:ext cx="3671888" cy="2208213"/>
          </a:xfrm>
          <a:prstGeom prst="line">
            <a:avLst/>
          </a:prstGeom>
          <a:ln w="28575" cap="rnd" cmpd="sng">
            <a:solidFill>
              <a:srgbClr val="272727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 descr="Connect_Innovate_Expand-08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725" y="1422401"/>
            <a:ext cx="228600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62" descr="Connect_Innovate_Expand-0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425" y="1525588"/>
            <a:ext cx="36353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63" descr="Connect_Innovate_Expand-02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190" y="1525588"/>
            <a:ext cx="3016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64" descr="Connect_Innovate_Expand-03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6240" y="1525588"/>
            <a:ext cx="3016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65" descr="Connect_Innovate_Expand-04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7390" y="1525588"/>
            <a:ext cx="3016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66" descr="Connect_Innovate_Expand-05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9015" y="1525588"/>
            <a:ext cx="3016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67" descr="Connect_Innovate_Expand-06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515" y="1525588"/>
            <a:ext cx="300037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68" descr="Connect_Innovate_Expand-07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615" y="1525588"/>
            <a:ext cx="223837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69" descr="Connect_Innovate_Expand-22.pn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965" y="2778125"/>
            <a:ext cx="3190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70" descr="Connect_Innovate_Expand-21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300" y="2778125"/>
            <a:ext cx="3190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71" descr="Connect_Innovate_Expand-20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765" y="2778125"/>
            <a:ext cx="32067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72" descr="Connect_Innovate_Expand-19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815" y="2778125"/>
            <a:ext cx="3190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73" descr="Connect_Innovate_Expand-18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1" y="2778125"/>
            <a:ext cx="32067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74" descr="Connect_Innovate_Expand-17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75" y="2778125"/>
            <a:ext cx="3190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75" descr="Connect_Innovate_Expand-09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02" y="2200275"/>
            <a:ext cx="1444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76" descr="Connect_Innovate_Expand-10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938" y="2200275"/>
            <a:ext cx="260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77" descr="Connect_Innovate_Expand-11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088" y="2200275"/>
            <a:ext cx="25876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78" descr="Connect_Innovate_Expand-12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665" y="2200275"/>
            <a:ext cx="300037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79" descr="Connect_Innovate_Expand-13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700" y="2200275"/>
            <a:ext cx="2809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80" descr="Connect_Innovate_Expand-14.png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275" y="2200275"/>
            <a:ext cx="2492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81" descr="Connect_Innovate_Expand-15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515" y="2200275"/>
            <a:ext cx="185737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82" descr="Connect_Innovate_Expand-16.png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2200275"/>
            <a:ext cx="2730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8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0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84" descr="Misys_Logo_strap_90Black.png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2065338"/>
            <a:ext cx="330835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Box 85"/>
          <p:cNvSpPr txBox="1">
            <a:spLocks noChangeArrowheads="1"/>
          </p:cNvSpPr>
          <p:nvPr userDrawn="1"/>
        </p:nvSpPr>
        <p:spPr bwMode="auto">
          <a:xfrm>
            <a:off x="463550" y="4225152"/>
            <a:ext cx="82296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GB" sz="3000" smtClean="0">
                <a:solidFill>
                  <a:srgbClr val="414141"/>
                </a:solidFill>
              </a:rPr>
              <a:t>misys.com</a:t>
            </a:r>
          </a:p>
        </p:txBody>
      </p:sp>
      <p:grpSp>
        <p:nvGrpSpPr>
          <p:cNvPr id="87" name="Group 86"/>
          <p:cNvGrpSpPr>
            <a:grpSpLocks/>
          </p:cNvGrpSpPr>
          <p:nvPr userDrawn="1"/>
        </p:nvGrpSpPr>
        <p:grpSpPr bwMode="auto">
          <a:xfrm>
            <a:off x="3329784" y="4830764"/>
            <a:ext cx="2497137" cy="185737"/>
            <a:chOff x="236428" y="4748590"/>
            <a:chExt cx="2496189" cy="184666"/>
          </a:xfrm>
        </p:grpSpPr>
        <p:sp>
          <p:nvSpPr>
            <p:cNvPr id="88" name="TextBox 87"/>
            <p:cNvSpPr txBox="1">
              <a:spLocks noChangeArrowheads="1"/>
            </p:cNvSpPr>
            <p:nvPr userDrawn="1"/>
          </p:nvSpPr>
          <p:spPr bwMode="auto">
            <a:xfrm>
              <a:off x="468115" y="4831325"/>
              <a:ext cx="2264502" cy="91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>
                <a:defRPr/>
              </a:pPr>
              <a:r>
                <a:rPr lang="en-GB" sz="600" smtClean="0">
                  <a:solidFill>
                    <a:srgbClr val="414141"/>
                  </a:solidFill>
                </a:rPr>
                <a:t>Please consider the environment before printing this PowerPoint.</a:t>
              </a:r>
            </a:p>
          </p:txBody>
        </p:sp>
        <p:pic>
          <p:nvPicPr>
            <p:cNvPr id="89" name="Picture 31"/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428" y="4748590"/>
              <a:ext cx="178872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0" name="Group 89"/>
          <p:cNvGrpSpPr>
            <a:grpSpLocks/>
          </p:cNvGrpSpPr>
          <p:nvPr userDrawn="1"/>
        </p:nvGrpSpPr>
        <p:grpSpPr bwMode="auto">
          <a:xfrm>
            <a:off x="8020052" y="4138614"/>
            <a:ext cx="925513" cy="252412"/>
            <a:chOff x="7935474" y="4139161"/>
            <a:chExt cx="924304" cy="252000"/>
          </a:xfrm>
        </p:grpSpPr>
        <p:pic>
          <p:nvPicPr>
            <p:cNvPr id="91" name="Picture 33" descr="Twitter Social Media_Black90.png">
              <a:hlinkClick r:id="rId27"/>
            </p:cNvPr>
            <p:cNvPicPr>
              <a:picLocks noChangeAspect="1"/>
            </p:cNvPicPr>
            <p:nvPr userDrawn="1"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7778" y="4139161"/>
              <a:ext cx="252000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" name="TextBox 91"/>
            <p:cNvSpPr txBox="1">
              <a:spLocks noChangeArrowheads="1"/>
            </p:cNvSpPr>
            <p:nvPr userDrawn="1"/>
          </p:nvSpPr>
          <p:spPr bwMode="auto">
            <a:xfrm>
              <a:off x="7935474" y="4189878"/>
              <a:ext cx="615145" cy="152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>
                <a:defRPr/>
              </a:pPr>
              <a:r>
                <a:rPr lang="en-US" sz="600" smtClean="0"/>
                <a:t>@</a:t>
              </a:r>
              <a:r>
                <a:rPr lang="en-GB" sz="600" smtClean="0">
                  <a:solidFill>
                    <a:srgbClr val="414141"/>
                  </a:solidFill>
                </a:rPr>
                <a:t>MisysFS</a:t>
              </a:r>
            </a:p>
          </p:txBody>
        </p:sp>
      </p:grpSp>
      <p:grpSp>
        <p:nvGrpSpPr>
          <p:cNvPr id="93" name="Group 92"/>
          <p:cNvGrpSpPr>
            <a:grpSpLocks/>
          </p:cNvGrpSpPr>
          <p:nvPr userDrawn="1"/>
        </p:nvGrpSpPr>
        <p:grpSpPr bwMode="auto">
          <a:xfrm>
            <a:off x="8020052" y="4459289"/>
            <a:ext cx="925513" cy="252412"/>
            <a:chOff x="7935474" y="4459155"/>
            <a:chExt cx="924304" cy="252000"/>
          </a:xfrm>
        </p:grpSpPr>
        <p:pic>
          <p:nvPicPr>
            <p:cNvPr id="94" name="Picture 36" descr="LinkedIn Social Media_Black90.png">
              <a:hlinkClick r:id="rId29"/>
            </p:cNvPr>
            <p:cNvPicPr>
              <a:picLocks noChangeAspect="1"/>
            </p:cNvPicPr>
            <p:nvPr userDrawn="1"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7778" y="4459155"/>
              <a:ext cx="252000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" name="TextBox 94"/>
            <p:cNvSpPr txBox="1">
              <a:spLocks noChangeArrowheads="1"/>
            </p:cNvSpPr>
            <p:nvPr userDrawn="1"/>
          </p:nvSpPr>
          <p:spPr bwMode="auto">
            <a:xfrm>
              <a:off x="7935474" y="4506702"/>
              <a:ext cx="615145" cy="152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>
                <a:defRPr/>
              </a:pPr>
              <a:r>
                <a:rPr lang="en-US" sz="600" smtClean="0"/>
                <a:t>Misys @ LinkedIn</a:t>
              </a:r>
              <a:endParaRPr lang="en-GB" sz="600" smtClean="0">
                <a:solidFill>
                  <a:srgbClr val="414141"/>
                </a:solidFill>
              </a:endParaRPr>
            </a:p>
          </p:txBody>
        </p:sp>
      </p:grpSp>
      <p:grpSp>
        <p:nvGrpSpPr>
          <p:cNvPr id="96" name="Group 95"/>
          <p:cNvGrpSpPr>
            <a:grpSpLocks/>
          </p:cNvGrpSpPr>
          <p:nvPr userDrawn="1"/>
        </p:nvGrpSpPr>
        <p:grpSpPr bwMode="auto">
          <a:xfrm>
            <a:off x="6600827" y="4778376"/>
            <a:ext cx="2346325" cy="252413"/>
            <a:chOff x="6515294" y="4779149"/>
            <a:chExt cx="2346257" cy="252000"/>
          </a:xfrm>
        </p:grpSpPr>
        <p:pic>
          <p:nvPicPr>
            <p:cNvPr id="97" name="Picture 39" descr="YouTube Social Media_Black90.png">
              <a:hlinkClick r:id="rId31"/>
            </p:cNvPr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9551" y="4779149"/>
              <a:ext cx="252000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8" name="TextBox 97"/>
            <p:cNvSpPr txBox="1">
              <a:spLocks noChangeArrowheads="1"/>
            </p:cNvSpPr>
            <p:nvPr userDrawn="1"/>
          </p:nvSpPr>
          <p:spPr bwMode="auto">
            <a:xfrm>
              <a:off x="6515294" y="4821942"/>
              <a:ext cx="2035116" cy="153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>
                <a:defRPr/>
              </a:pPr>
              <a:r>
                <a:rPr lang="en-GB" sz="600" smtClean="0"/>
                <a:t>MisysVideoChannel</a:t>
              </a:r>
              <a:endParaRPr lang="en-GB" sz="600" smtClean="0">
                <a:solidFill>
                  <a:srgbClr val="414141"/>
                </a:solidFill>
              </a:endParaRPr>
            </a:p>
          </p:txBody>
        </p:sp>
      </p:grpSp>
      <p:sp>
        <p:nvSpPr>
          <p:cNvPr id="127" name="Title 1"/>
          <p:cNvSpPr>
            <a:spLocks noGrp="1"/>
          </p:cNvSpPr>
          <p:nvPr>
            <p:ph type="title" hasCustomPrompt="1"/>
          </p:nvPr>
        </p:nvSpPr>
        <p:spPr>
          <a:xfrm>
            <a:off x="0" y="3332691"/>
            <a:ext cx="9156700" cy="887600"/>
          </a:xfrm>
          <a:prstGeom prst="rect">
            <a:avLst/>
          </a:prstGeom>
        </p:spPr>
        <p:txBody>
          <a:bodyPr vert="horz"/>
          <a:lstStyle>
            <a:lvl1pPr algn="ctr">
              <a:defRPr sz="1400" baseline="0">
                <a:solidFill>
                  <a:srgbClr val="414141"/>
                </a:solidFill>
              </a:defRPr>
            </a:lvl1pPr>
          </a:lstStyle>
          <a:p>
            <a:pPr lvl="0"/>
            <a:r>
              <a:rPr lang="en-GB" dirty="0" smtClean="0"/>
              <a:t>Name Surname</a:t>
            </a:r>
            <a:br>
              <a:rPr lang="en-GB" dirty="0" smtClean="0"/>
            </a:br>
            <a:r>
              <a:rPr lang="en-GB" dirty="0" smtClean="0"/>
              <a:t>Job title</a:t>
            </a:r>
            <a:br>
              <a:rPr lang="en-GB" dirty="0" smtClean="0"/>
            </a:br>
            <a:r>
              <a:rPr lang="en-GB" dirty="0" err="1" smtClean="0"/>
              <a:t>name.surname@misys.com</a:t>
            </a:r>
            <a:r>
              <a:rPr lang="en-GB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8437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1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1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1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1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1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3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900"/>
                            </p:stCondLst>
                            <p:childTnLst>
                              <p:par>
                                <p:cTn id="7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900"/>
                            </p:stCondLst>
                            <p:childTnLst>
                              <p:par>
                                <p:cTn id="7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49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9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64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69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7400"/>
                            </p:stCondLst>
                            <p:childTnLst>
                              <p:par>
                                <p:cTn id="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9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84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  <p:bldP spid="127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69900" y="4718449"/>
            <a:ext cx="8345488" cy="2381"/>
          </a:xfrm>
          <a:prstGeom prst="line">
            <a:avLst/>
          </a:prstGeom>
          <a:ln w="381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00" y="301229"/>
            <a:ext cx="6646032" cy="4191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468313" y="973931"/>
            <a:ext cx="8229600" cy="3620691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>
          <a:xfrm>
            <a:off x="457200" y="4793982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5EBFC1-073E-4B96-B738-CAA039AC191C}" type="datetime2">
              <a:rPr lang="en-GB" smtClean="0"/>
              <a:pPr>
                <a:defRPr/>
              </a:pPr>
              <a:t>Friday, 04 September 2015</a:t>
            </a:fld>
            <a:endParaRPr lang="en-GB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6529450" y="4793982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lide </a:t>
            </a:r>
            <a:fld id="{6C6772C5-0E76-4BB3-A067-2311F7110270}" type="slidenum">
              <a:rPr lang="en-GB"/>
              <a:pPr>
                <a:defRPr/>
              </a:pPr>
              <a:t>‹#›</a:t>
            </a:fld>
            <a:r>
              <a:rPr lang="en-GB"/>
              <a:t>      </a:t>
            </a:r>
            <a:r>
              <a:rPr lang="en-GB">
                <a:cs typeface="Arial"/>
              </a:rPr>
              <a:t>©MISYS 201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9575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v0 - Corp (Text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Misys_Logo_strap_90Blac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988" y="4856163"/>
            <a:ext cx="787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8520113" y="4783138"/>
            <a:ext cx="0" cy="360362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1065213" y="4887913"/>
            <a:ext cx="0" cy="163512"/>
          </a:xfrm>
          <a:prstGeom prst="line">
            <a:avLst/>
          </a:prstGeom>
          <a:ln w="6350" cap="rnd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360363" y="812800"/>
            <a:ext cx="8423275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9999" y="957105"/>
            <a:ext cx="8421193" cy="3542893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rgbClr val="414141"/>
                </a:solidFill>
              </a:defRPr>
            </a:lvl1pPr>
            <a:lvl2pPr>
              <a:defRPr sz="1400">
                <a:solidFill>
                  <a:srgbClr val="414141"/>
                </a:solidFill>
              </a:defRPr>
            </a:lvl2pPr>
            <a:lvl3pPr>
              <a:defRPr sz="1200">
                <a:solidFill>
                  <a:srgbClr val="414141"/>
                </a:solidFill>
              </a:defRPr>
            </a:lvl3pPr>
            <a:lvl4pPr>
              <a:defRPr sz="1000">
                <a:solidFill>
                  <a:srgbClr val="414141"/>
                </a:solidFill>
              </a:defRPr>
            </a:lvl4pPr>
            <a:lvl5pPr>
              <a:defRPr sz="800">
                <a:solidFill>
                  <a:srgbClr val="41414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000" b="0">
                <a:solidFill>
                  <a:srgbClr val="41414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520113" y="4783138"/>
            <a:ext cx="260350" cy="360362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41414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67F7988-97B5-41CA-A681-474100F15E7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60363" y="4856163"/>
            <a:ext cx="781050" cy="2159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41414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fi-FI" altLang="en-US"/>
              <a:t>© Misys 2015</a:t>
            </a:r>
            <a:endParaRPr lang="en-GB" altLang="en-US" baseline="3000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2"/>
          </p:nvPr>
        </p:nvSpPr>
        <p:spPr>
          <a:xfrm>
            <a:off x="1144588" y="4854575"/>
            <a:ext cx="1471612" cy="2159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41414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8FD63914-69A1-4F46-8ABC-EF16955C3FFB}" type="datetime3">
              <a:rPr lang="en-GB" altLang="en-US"/>
              <a:pPr>
                <a:defRPr/>
              </a:pPr>
              <a:t>4 September, 201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4234639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9995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59" r:id="rId4"/>
    <p:sldLayoutId id="2147483650" r:id="rId5"/>
    <p:sldLayoutId id="2147483657" r:id="rId6"/>
    <p:sldLayoutId id="2147483671" r:id="rId7"/>
    <p:sldLayoutId id="2147483690" r:id="rId8"/>
    <p:sldLayoutId id="2147483691" r:id="rId9"/>
    <p:sldLayoutId id="2147483693" r:id="rId10"/>
    <p:sldLayoutId id="2147483694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2200" kern="1200">
          <a:solidFill>
            <a:srgbClr val="272727"/>
          </a:solidFill>
          <a:latin typeface="+mj-lt"/>
          <a:ea typeface="+mj-ea"/>
          <a:cs typeface="+mj-cs"/>
        </a:defRPr>
      </a:lvl1pPr>
    </p:titleStyle>
    <p:bodyStyle>
      <a:lvl1pPr marL="0" indent="-180000" algn="l" defTabSz="457200" rtl="0" eaLnBrk="1" latinLnBrk="0" hangingPunct="1">
        <a:spcBef>
          <a:spcPts val="3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57200" rtl="0" eaLnBrk="1" latinLnBrk="0" hangingPunct="1">
        <a:spcBef>
          <a:spcPts val="3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57200" rtl="0" eaLnBrk="1" latinLnBrk="0" hangingPunct="1">
        <a:spcBef>
          <a:spcPts val="3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457200" rtl="0" eaLnBrk="1" latinLnBrk="0" hangingPunct="1">
        <a:spcBef>
          <a:spcPts val="3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457200" rtl="0" eaLnBrk="1" latinLnBrk="0" hangingPunct="1">
        <a:spcBef>
          <a:spcPts val="300"/>
        </a:spcBef>
        <a:buFont typeface="Arial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42.png"/><Relationship Id="rId7" Type="http://schemas.openxmlformats.org/officeDocument/2006/relationships/diagramQuickStyle" Target="../diagrams/quickStyle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43.png"/><Relationship Id="rId4" Type="http://schemas.microsoft.com/office/2007/relationships/hdphoto" Target="../media/hdphoto2.wdp"/><Relationship Id="rId9" Type="http://schemas.microsoft.com/office/2007/relationships/diagramDrawing" Target="../diagrams/drawing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jpeg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66.png"/><Relationship Id="rId34" Type="http://schemas.openxmlformats.org/officeDocument/2006/relationships/image" Target="../media/image79.jpeg"/><Relationship Id="rId7" Type="http://schemas.openxmlformats.org/officeDocument/2006/relationships/image" Target="../media/image54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jpeg"/><Relationship Id="rId33" Type="http://schemas.openxmlformats.org/officeDocument/2006/relationships/image" Target="../media/image78.jpeg"/><Relationship Id="rId38" Type="http://schemas.openxmlformats.org/officeDocument/2006/relationships/image" Target="../media/image83.jpeg"/><Relationship Id="rId2" Type="http://schemas.openxmlformats.org/officeDocument/2006/relationships/tags" Target="../tags/tag2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jpeg"/><Relationship Id="rId1" Type="http://schemas.openxmlformats.org/officeDocument/2006/relationships/tags" Target="../tags/tag1.xml"/><Relationship Id="rId6" Type="http://schemas.openxmlformats.org/officeDocument/2006/relationships/image" Target="../media/image53.jpeg"/><Relationship Id="rId11" Type="http://schemas.openxmlformats.org/officeDocument/2006/relationships/hyperlink" Target="http://www.natbank.co.mw/" TargetMode="External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37" Type="http://schemas.openxmlformats.org/officeDocument/2006/relationships/image" Target="../media/image82.png"/><Relationship Id="rId5" Type="http://schemas.openxmlformats.org/officeDocument/2006/relationships/image" Target="../media/image52.png"/><Relationship Id="rId15" Type="http://schemas.openxmlformats.org/officeDocument/2006/relationships/image" Target="../media/image60.jpeg"/><Relationship Id="rId23" Type="http://schemas.openxmlformats.org/officeDocument/2006/relationships/image" Target="../media/image68.png"/><Relationship Id="rId28" Type="http://schemas.openxmlformats.org/officeDocument/2006/relationships/image" Target="../media/image73.jpeg"/><Relationship Id="rId36" Type="http://schemas.openxmlformats.org/officeDocument/2006/relationships/image" Target="../media/image81.jpeg"/><Relationship Id="rId10" Type="http://schemas.openxmlformats.org/officeDocument/2006/relationships/image" Target="../media/image56.png"/><Relationship Id="rId19" Type="http://schemas.openxmlformats.org/officeDocument/2006/relationships/image" Target="../media/image64.png"/><Relationship Id="rId31" Type="http://schemas.openxmlformats.org/officeDocument/2006/relationships/image" Target="../media/image76.jpeg"/><Relationship Id="rId4" Type="http://schemas.openxmlformats.org/officeDocument/2006/relationships/notesSlide" Target="../notesSlides/notesSlide17.xml"/><Relationship Id="rId9" Type="http://schemas.openxmlformats.org/officeDocument/2006/relationships/hyperlink" Target="http://upload.wikimedia.org/wikipedia/en/9/93/Commonwealth_Bank.svg" TargetMode="External"/><Relationship Id="rId14" Type="http://schemas.openxmlformats.org/officeDocument/2006/relationships/image" Target="../media/image59.jpeg"/><Relationship Id="rId22" Type="http://schemas.openxmlformats.org/officeDocument/2006/relationships/image" Target="../media/image67.png"/><Relationship Id="rId27" Type="http://schemas.openxmlformats.org/officeDocument/2006/relationships/image" Target="../media/image72.jpeg"/><Relationship Id="rId30" Type="http://schemas.openxmlformats.org/officeDocument/2006/relationships/image" Target="../media/image75.png"/><Relationship Id="rId35" Type="http://schemas.openxmlformats.org/officeDocument/2006/relationships/image" Target="../media/image80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4.emf"/><Relationship Id="rId5" Type="http://schemas.openxmlformats.org/officeDocument/2006/relationships/oleObject" Target="../embeddings/Microsoft_Excel_97-2003_Worksheet1.xls"/><Relationship Id="rId4" Type="http://schemas.openxmlformats.org/officeDocument/2006/relationships/oleObject" Target="../embeddings/oleObject1.bin"/></Relationships>
</file>

<file path=ppt/slides/_rels/slide23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107" Type="http://schemas.openxmlformats.org/officeDocument/2006/relationships/tags" Target="../tags/tag108.xml"/><Relationship Id="rId268" Type="http://schemas.openxmlformats.org/officeDocument/2006/relationships/tags" Target="../tags/tag269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53" Type="http://schemas.openxmlformats.org/officeDocument/2006/relationships/tags" Target="../tags/tag54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35" Type="http://schemas.openxmlformats.org/officeDocument/2006/relationships/tags" Target="../tags/tag336.xml"/><Relationship Id="rId356" Type="http://schemas.openxmlformats.org/officeDocument/2006/relationships/tags" Target="../tags/tag357.xml"/><Relationship Id="rId377" Type="http://schemas.openxmlformats.org/officeDocument/2006/relationships/tags" Target="../tags/tag378.xml"/><Relationship Id="rId398" Type="http://schemas.openxmlformats.org/officeDocument/2006/relationships/image" Target="../media/image90.png"/><Relationship Id="rId5" Type="http://schemas.openxmlformats.org/officeDocument/2006/relationships/tags" Target="../tags/tag6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81" Type="http://schemas.openxmlformats.org/officeDocument/2006/relationships/tags" Target="../tags/tag182.xml"/><Relationship Id="rId216" Type="http://schemas.openxmlformats.org/officeDocument/2006/relationships/tags" Target="../tags/tag217.xml"/><Relationship Id="rId237" Type="http://schemas.openxmlformats.org/officeDocument/2006/relationships/tags" Target="../tags/tag238.xml"/><Relationship Id="rId258" Type="http://schemas.openxmlformats.org/officeDocument/2006/relationships/tags" Target="../tags/tag259.xml"/><Relationship Id="rId279" Type="http://schemas.openxmlformats.org/officeDocument/2006/relationships/tags" Target="../tags/tag280.xml"/><Relationship Id="rId22" Type="http://schemas.openxmlformats.org/officeDocument/2006/relationships/tags" Target="../tags/tag23.xml"/><Relationship Id="rId43" Type="http://schemas.openxmlformats.org/officeDocument/2006/relationships/tags" Target="../tags/tag44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25" Type="http://schemas.openxmlformats.org/officeDocument/2006/relationships/tags" Target="../tags/tag326.xml"/><Relationship Id="rId346" Type="http://schemas.openxmlformats.org/officeDocument/2006/relationships/tags" Target="../tags/tag347.xml"/><Relationship Id="rId367" Type="http://schemas.openxmlformats.org/officeDocument/2006/relationships/tags" Target="../tags/tag368.xml"/><Relationship Id="rId388" Type="http://schemas.openxmlformats.org/officeDocument/2006/relationships/oleObject" Target="../embeddings/Microsoft_Excel_97-2003_Worksheet3.xls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71" Type="http://schemas.openxmlformats.org/officeDocument/2006/relationships/tags" Target="../tags/tag172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27" Type="http://schemas.openxmlformats.org/officeDocument/2006/relationships/tags" Target="../tags/tag228.xml"/><Relationship Id="rId248" Type="http://schemas.openxmlformats.org/officeDocument/2006/relationships/tags" Target="../tags/tag249.xml"/><Relationship Id="rId269" Type="http://schemas.openxmlformats.org/officeDocument/2006/relationships/tags" Target="../tags/tag270.xml"/><Relationship Id="rId12" Type="http://schemas.openxmlformats.org/officeDocument/2006/relationships/tags" Target="../tags/tag13.xml"/><Relationship Id="rId33" Type="http://schemas.openxmlformats.org/officeDocument/2006/relationships/tags" Target="../tags/tag34.xml"/><Relationship Id="rId108" Type="http://schemas.openxmlformats.org/officeDocument/2006/relationships/tags" Target="../tags/tag109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15" Type="http://schemas.openxmlformats.org/officeDocument/2006/relationships/tags" Target="../tags/tag316.xml"/><Relationship Id="rId336" Type="http://schemas.openxmlformats.org/officeDocument/2006/relationships/tags" Target="../tags/tag337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75" Type="http://schemas.openxmlformats.org/officeDocument/2006/relationships/tags" Target="../tags/tag76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61" Type="http://schemas.openxmlformats.org/officeDocument/2006/relationships/tags" Target="../tags/tag162.xml"/><Relationship Id="rId182" Type="http://schemas.openxmlformats.org/officeDocument/2006/relationships/tags" Target="../tags/tag183.xml"/><Relationship Id="rId217" Type="http://schemas.openxmlformats.org/officeDocument/2006/relationships/tags" Target="../tags/tag218.xml"/><Relationship Id="rId378" Type="http://schemas.openxmlformats.org/officeDocument/2006/relationships/tags" Target="../tags/tag379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26" Type="http://schemas.openxmlformats.org/officeDocument/2006/relationships/tags" Target="../tags/tag327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65" Type="http://schemas.openxmlformats.org/officeDocument/2006/relationships/tags" Target="../tags/tag66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51" Type="http://schemas.openxmlformats.org/officeDocument/2006/relationships/tags" Target="../tags/tag152.xml"/><Relationship Id="rId368" Type="http://schemas.openxmlformats.org/officeDocument/2006/relationships/tags" Target="../tags/tag369.xml"/><Relationship Id="rId389" Type="http://schemas.openxmlformats.org/officeDocument/2006/relationships/image" Target="../media/image87.png"/><Relationship Id="rId172" Type="http://schemas.openxmlformats.org/officeDocument/2006/relationships/tags" Target="../tags/tag173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28" Type="http://schemas.openxmlformats.org/officeDocument/2006/relationships/tags" Target="../tags/tag229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281" Type="http://schemas.openxmlformats.org/officeDocument/2006/relationships/tags" Target="../tags/tag282.xml"/><Relationship Id="rId316" Type="http://schemas.openxmlformats.org/officeDocument/2006/relationships/tags" Target="../tags/tag317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141" Type="http://schemas.openxmlformats.org/officeDocument/2006/relationships/tags" Target="../tags/tag142.xml"/><Relationship Id="rId358" Type="http://schemas.openxmlformats.org/officeDocument/2006/relationships/tags" Target="../tags/tag359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18" Type="http://schemas.openxmlformats.org/officeDocument/2006/relationships/tags" Target="../tags/tag219.xml"/><Relationship Id="rId239" Type="http://schemas.openxmlformats.org/officeDocument/2006/relationships/tags" Target="../tags/tag240.xml"/><Relationship Id="rId390" Type="http://schemas.openxmlformats.org/officeDocument/2006/relationships/oleObject" Target="../embeddings/oleObject4.bin"/><Relationship Id="rId250" Type="http://schemas.openxmlformats.org/officeDocument/2006/relationships/tags" Target="../tags/tag251.xml"/><Relationship Id="rId271" Type="http://schemas.openxmlformats.org/officeDocument/2006/relationships/tags" Target="../tags/tag272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24" Type="http://schemas.openxmlformats.org/officeDocument/2006/relationships/tags" Target="../tags/tag25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48" Type="http://schemas.openxmlformats.org/officeDocument/2006/relationships/tags" Target="../tags/tag349.xml"/><Relationship Id="rId369" Type="http://schemas.openxmlformats.org/officeDocument/2006/relationships/tags" Target="../tags/tag370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17" Type="http://schemas.openxmlformats.org/officeDocument/2006/relationships/tags" Target="../tags/tag318.xml"/><Relationship Id="rId338" Type="http://schemas.openxmlformats.org/officeDocument/2006/relationships/tags" Target="../tags/tag339.xml"/><Relationship Id="rId359" Type="http://schemas.openxmlformats.org/officeDocument/2006/relationships/tags" Target="../tags/tag360.xml"/><Relationship Id="rId8" Type="http://schemas.openxmlformats.org/officeDocument/2006/relationships/tags" Target="../tags/tag9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391" Type="http://schemas.openxmlformats.org/officeDocument/2006/relationships/oleObject" Target="../embeddings/Microsoft_Excel_97-2003_Worksheet4.xls"/><Relationship Id="rId230" Type="http://schemas.openxmlformats.org/officeDocument/2006/relationships/tags" Target="../tags/tag231.xml"/><Relationship Id="rId251" Type="http://schemas.openxmlformats.org/officeDocument/2006/relationships/tags" Target="../tags/tag252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28" Type="http://schemas.openxmlformats.org/officeDocument/2006/relationships/tags" Target="../tags/tag329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381" Type="http://schemas.openxmlformats.org/officeDocument/2006/relationships/tags" Target="../tags/tag382.xml"/><Relationship Id="rId220" Type="http://schemas.openxmlformats.org/officeDocument/2006/relationships/tags" Target="../tags/tag221.xml"/><Relationship Id="rId241" Type="http://schemas.openxmlformats.org/officeDocument/2006/relationships/tags" Target="../tags/tag242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283" Type="http://schemas.openxmlformats.org/officeDocument/2006/relationships/tags" Target="../tags/tag284.xml"/><Relationship Id="rId318" Type="http://schemas.openxmlformats.org/officeDocument/2006/relationships/tags" Target="../tags/tag319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64" Type="http://schemas.openxmlformats.org/officeDocument/2006/relationships/tags" Target="../tags/tag165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371" Type="http://schemas.openxmlformats.org/officeDocument/2006/relationships/tags" Target="../tags/tag372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392" Type="http://schemas.openxmlformats.org/officeDocument/2006/relationships/image" Target="../media/image88.emf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52" Type="http://schemas.openxmlformats.org/officeDocument/2006/relationships/tags" Target="../tags/tag253.xml"/><Relationship Id="rId273" Type="http://schemas.openxmlformats.org/officeDocument/2006/relationships/tags" Target="../tags/tag274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329" Type="http://schemas.openxmlformats.org/officeDocument/2006/relationships/tags" Target="../tags/tag330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382" Type="http://schemas.openxmlformats.org/officeDocument/2006/relationships/tags" Target="../tags/tag383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284" Type="http://schemas.openxmlformats.org/officeDocument/2006/relationships/tags" Target="../tags/tag285.xml"/><Relationship Id="rId319" Type="http://schemas.openxmlformats.org/officeDocument/2006/relationships/tags" Target="../tags/tag320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330" Type="http://schemas.openxmlformats.org/officeDocument/2006/relationships/tags" Target="../tags/tag331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72" Type="http://schemas.openxmlformats.org/officeDocument/2006/relationships/tags" Target="../tags/tag373.xml"/><Relationship Id="rId393" Type="http://schemas.openxmlformats.org/officeDocument/2006/relationships/oleObject" Target="../embeddings/oleObject5.bin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320" Type="http://schemas.openxmlformats.org/officeDocument/2006/relationships/tags" Target="../tags/tag321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341" Type="http://schemas.openxmlformats.org/officeDocument/2006/relationships/tags" Target="../tags/tag342.xml"/><Relationship Id="rId362" Type="http://schemas.openxmlformats.org/officeDocument/2006/relationships/tags" Target="../tags/tag363.xml"/><Relationship Id="rId383" Type="http://schemas.openxmlformats.org/officeDocument/2006/relationships/slideLayout" Target="../slideLayouts/slideLayout9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285" Type="http://schemas.openxmlformats.org/officeDocument/2006/relationships/tags" Target="../tags/tag286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394" Type="http://schemas.openxmlformats.org/officeDocument/2006/relationships/oleObject" Target="../embeddings/Microsoft_Excel_97-2003_Worksheet5.xls"/><Relationship Id="rId1" Type="http://schemas.openxmlformats.org/officeDocument/2006/relationships/vmlDrawing" Target="../drawings/vmlDrawing2.v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384" Type="http://schemas.openxmlformats.org/officeDocument/2006/relationships/oleObject" Target="../embeddings/oleObject2.bin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395" Type="http://schemas.openxmlformats.org/officeDocument/2006/relationships/image" Target="../media/image89.emf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385" Type="http://schemas.openxmlformats.org/officeDocument/2006/relationships/oleObject" Target="../embeddings/Microsoft_Excel_97-2003_Worksheet2.xls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96" Type="http://schemas.openxmlformats.org/officeDocument/2006/relationships/oleObject" Target="../embeddings/oleObject6.bin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386" Type="http://schemas.openxmlformats.org/officeDocument/2006/relationships/image" Target="../media/image86.png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397" Type="http://schemas.openxmlformats.org/officeDocument/2006/relationships/oleObject" Target="../embeddings/Microsoft_Excel_97-2003_Worksheet6.xls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387" Type="http://schemas.openxmlformats.org/officeDocument/2006/relationships/oleObject" Target="../embeddings/oleObject3.bin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gif"/><Relationship Id="rId13" Type="http://schemas.openxmlformats.org/officeDocument/2006/relationships/image" Target="../media/image100.jpeg"/><Relationship Id="rId18" Type="http://schemas.openxmlformats.org/officeDocument/2006/relationships/image" Target="../media/image103.png"/><Relationship Id="rId26" Type="http://schemas.openxmlformats.org/officeDocument/2006/relationships/image" Target="../media/image107.png"/><Relationship Id="rId3" Type="http://schemas.openxmlformats.org/officeDocument/2006/relationships/image" Target="../media/image92.png"/><Relationship Id="rId21" Type="http://schemas.microsoft.com/office/2007/relationships/hdphoto" Target="../media/hdphoto8.wdp"/><Relationship Id="rId7" Type="http://schemas.openxmlformats.org/officeDocument/2006/relationships/image" Target="../media/image94.gif"/><Relationship Id="rId12" Type="http://schemas.openxmlformats.org/officeDocument/2006/relationships/image" Target="../media/image99.gif"/><Relationship Id="rId17" Type="http://schemas.openxmlformats.org/officeDocument/2006/relationships/image" Target="../media/image102.jpeg"/><Relationship Id="rId25" Type="http://schemas.microsoft.com/office/2007/relationships/hdphoto" Target="../media/hdphoto10.wdp"/><Relationship Id="rId33" Type="http://schemas.openxmlformats.org/officeDocument/2006/relationships/image" Target="../media/image113.jpeg"/><Relationship Id="rId2" Type="http://schemas.openxmlformats.org/officeDocument/2006/relationships/image" Target="../media/image91.gif"/><Relationship Id="rId16" Type="http://schemas.microsoft.com/office/2007/relationships/hdphoto" Target="../media/hdphoto6.wdp"/><Relationship Id="rId20" Type="http://schemas.openxmlformats.org/officeDocument/2006/relationships/image" Target="../media/image104.png"/><Relationship Id="rId29" Type="http://schemas.openxmlformats.org/officeDocument/2006/relationships/image" Target="../media/image109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4.wdp"/><Relationship Id="rId11" Type="http://schemas.openxmlformats.org/officeDocument/2006/relationships/image" Target="../media/image98.gif"/><Relationship Id="rId24" Type="http://schemas.openxmlformats.org/officeDocument/2006/relationships/image" Target="../media/image106.png"/><Relationship Id="rId32" Type="http://schemas.openxmlformats.org/officeDocument/2006/relationships/image" Target="../media/image112.jpeg"/><Relationship Id="rId5" Type="http://schemas.openxmlformats.org/officeDocument/2006/relationships/image" Target="../media/image93.jpeg"/><Relationship Id="rId15" Type="http://schemas.openxmlformats.org/officeDocument/2006/relationships/image" Target="../media/image101.jpeg"/><Relationship Id="rId23" Type="http://schemas.microsoft.com/office/2007/relationships/hdphoto" Target="../media/hdphoto9.wdp"/><Relationship Id="rId28" Type="http://schemas.openxmlformats.org/officeDocument/2006/relationships/image" Target="../media/image108.png"/><Relationship Id="rId10" Type="http://schemas.openxmlformats.org/officeDocument/2006/relationships/image" Target="../media/image97.gif"/><Relationship Id="rId19" Type="http://schemas.microsoft.com/office/2007/relationships/hdphoto" Target="../media/hdphoto7.wdp"/><Relationship Id="rId31" Type="http://schemas.openxmlformats.org/officeDocument/2006/relationships/image" Target="../media/image111.png"/><Relationship Id="rId4" Type="http://schemas.microsoft.com/office/2007/relationships/hdphoto" Target="../media/hdphoto3.wdp"/><Relationship Id="rId9" Type="http://schemas.openxmlformats.org/officeDocument/2006/relationships/image" Target="../media/image96.gif"/><Relationship Id="rId14" Type="http://schemas.microsoft.com/office/2007/relationships/hdphoto" Target="../media/hdphoto5.wdp"/><Relationship Id="rId22" Type="http://schemas.openxmlformats.org/officeDocument/2006/relationships/image" Target="../media/image105.png"/><Relationship Id="rId27" Type="http://schemas.microsoft.com/office/2007/relationships/hdphoto" Target="../media/hdphoto11.wdp"/><Relationship Id="rId30" Type="http://schemas.openxmlformats.org/officeDocument/2006/relationships/image" Target="../media/image11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327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000">
        <p:fade/>
      </p:transition>
    </mc:Choice>
    <mc:Fallback xmlns="">
      <p:transition xmlns:p14="http://schemas.microsoft.com/office/powerpoint/2010/main" spd="med" advTm="8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мпорт </a:t>
            </a:r>
            <a:r>
              <a:rPr lang="ru-RU" dirty="0" smtClean="0"/>
              <a:t>данных</a:t>
            </a:r>
            <a:r>
              <a:rPr lang="en-US" dirty="0" smtClean="0"/>
              <a:t>: </a:t>
            </a:r>
            <a:r>
              <a:rPr lang="ru-RU" dirty="0" smtClean="0"/>
              <a:t>документированные требования к данным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" t="26745" r="3535" b="6340"/>
          <a:stretch/>
        </p:blipFill>
        <p:spPr bwMode="auto">
          <a:xfrm>
            <a:off x="360000" y="934006"/>
            <a:ext cx="8290875" cy="3070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485901" y="4200525"/>
            <a:ext cx="5105400" cy="369332"/>
          </a:xfrm>
          <a:prstGeom prst="rect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50000">
                <a:schemeClr val="accent3">
                  <a:lumMod val="20000"/>
                  <a:lumOff val="80000"/>
                </a:schemeClr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0"/>
          </a:gra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 smtClean="0"/>
              <a:t>Мы знаем, какие данные нужны для расче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89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мпорт данных</a:t>
            </a:r>
            <a:r>
              <a:rPr lang="en-US" dirty="0"/>
              <a:t>: </a:t>
            </a:r>
            <a:r>
              <a:rPr lang="ru-RU" dirty="0" smtClean="0"/>
              <a:t>работа с большими объемами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360000" y="914400"/>
            <a:ext cx="5707425" cy="369332"/>
          </a:xfrm>
          <a:prstGeom prst="rect">
            <a:avLst/>
          </a:prstGeom>
          <a:gradFill>
            <a:gsLst>
              <a:gs pos="20000">
                <a:schemeClr val="accent5">
                  <a:tint val="9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 smtClean="0"/>
              <a:t>1. </a:t>
            </a:r>
            <a:r>
              <a:rPr lang="ru-RU" dirty="0" smtClean="0"/>
              <a:t>Работа с большими объемами данных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360000" y="1647825"/>
            <a:ext cx="382950" cy="26098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итрина данных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28435" y="1819275"/>
            <a:ext cx="967040" cy="666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лиенты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28435" y="2609850"/>
            <a:ext cx="967040" cy="666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онтракты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28435" y="3448050"/>
            <a:ext cx="967040" cy="6667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вязи и пр. данные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95500" y="181927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095500" y="193357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095500" y="205740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095499" y="218122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095500" y="231457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095500" y="244792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095498" y="2592727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095498" y="2707027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95498" y="2830852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095497" y="2954677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095498" y="3088027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095498" y="3221377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095496" y="340591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095496" y="352021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095496" y="3644035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095495" y="376786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095496" y="390121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095496" y="4034560"/>
            <a:ext cx="523875" cy="76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343271" y="1921201"/>
            <a:ext cx="544072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Ежедневно принимается и обрабатывается информация о</a:t>
            </a:r>
          </a:p>
          <a:p>
            <a:endParaRPr lang="ru-RU" dirty="0" smtClean="0"/>
          </a:p>
          <a:p>
            <a:pPr algn="ctr"/>
            <a:r>
              <a:rPr lang="ru-RU" dirty="0">
                <a:solidFill>
                  <a:srgbClr val="C00000"/>
                </a:solidFill>
              </a:rPr>
              <a:t>2</a:t>
            </a:r>
            <a:r>
              <a:rPr lang="ru-RU" dirty="0" smtClean="0">
                <a:solidFill>
                  <a:srgbClr val="C00000"/>
                </a:solidFill>
              </a:rPr>
              <a:t>0 000 000</a:t>
            </a:r>
            <a:r>
              <a:rPr lang="en-US" dirty="0" smtClean="0">
                <a:solidFill>
                  <a:srgbClr val="C00000"/>
                </a:solidFill>
              </a:rPr>
              <a:t> </a:t>
            </a:r>
            <a:r>
              <a:rPr lang="ru-RU" dirty="0" smtClean="0">
                <a:solidFill>
                  <a:srgbClr val="C00000"/>
                </a:solidFill>
              </a:rPr>
              <a:t>контрактов</a:t>
            </a:r>
          </a:p>
          <a:p>
            <a:pPr algn="ctr"/>
            <a:r>
              <a:rPr lang="ru-RU" dirty="0" smtClean="0">
                <a:solidFill>
                  <a:srgbClr val="C00000"/>
                </a:solidFill>
              </a:rPr>
              <a:t>15 000 000 клиентов</a:t>
            </a:r>
          </a:p>
          <a:p>
            <a:endParaRPr lang="ru-RU" dirty="0"/>
          </a:p>
          <a:p>
            <a:pPr algn="ctr"/>
            <a:r>
              <a:rPr lang="ru-RU" sz="1400" dirty="0" smtClean="0"/>
              <a:t>Весь цикл занимает менее 6 часов, включая </a:t>
            </a:r>
            <a:r>
              <a:rPr lang="en-US" sz="1400" dirty="0" smtClean="0"/>
              <a:t>1 </a:t>
            </a:r>
            <a:r>
              <a:rPr lang="ru-RU" sz="1400" dirty="0" smtClean="0"/>
              <a:t>час 40 мин импорта и контроля данных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9995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ounded Rectangle 2051"/>
          <p:cNvSpPr/>
          <p:nvPr/>
        </p:nvSpPr>
        <p:spPr>
          <a:xfrm>
            <a:off x="600501" y="1893627"/>
            <a:ext cx="4681184" cy="2725998"/>
          </a:xfrm>
          <a:prstGeom prst="roundRect">
            <a:avLst>
              <a:gd name="adj" fmla="val 4902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чет ПКЛ с </a:t>
            </a:r>
            <a:r>
              <a:rPr lang="en-GB" dirty="0" err="1" smtClean="0"/>
              <a:t>FusionRisk</a:t>
            </a:r>
            <a:r>
              <a:rPr lang="ru-RU" dirty="0" smtClean="0"/>
              <a:t> – обработка данных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311195" y="882134"/>
            <a:ext cx="4155134" cy="646331"/>
          </a:xfrm>
          <a:prstGeom prst="rect">
            <a:avLst/>
          </a:prstGeom>
          <a:gradFill>
            <a:gsLst>
              <a:gs pos="20000">
                <a:schemeClr val="accent5">
                  <a:tint val="9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 smtClean="0"/>
              <a:t>3. </a:t>
            </a:r>
            <a:r>
              <a:rPr lang="ru-RU" dirty="0" smtClean="0"/>
              <a:t>Обогащение, классификация, обработка данных</a:t>
            </a:r>
            <a:endParaRPr lang="en-GB" dirty="0"/>
          </a:p>
        </p:txBody>
      </p:sp>
      <p:pic>
        <p:nvPicPr>
          <p:cNvPr id="2050" name="Picture 2" descr="C:\Users\ebehrend\Documents\Documents\External communications\FusionRisk ppts\ICONs_1-141\Icon-9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584" y="1831731"/>
            <a:ext cx="1446199" cy="144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945267" y="2097284"/>
            <a:ext cx="4149664" cy="36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400" b="1" dirty="0" smtClean="0"/>
              <a:t>1. </a:t>
            </a:r>
            <a:r>
              <a:rPr lang="ru-RU" sz="1400" b="1" dirty="0" smtClean="0"/>
              <a:t>Расчет показателя обесценения</a:t>
            </a:r>
            <a:endParaRPr lang="en-GB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928436" y="2611206"/>
            <a:ext cx="4149664" cy="36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r>
              <a:rPr lang="en-US" sz="1400" b="1" dirty="0"/>
              <a:t>2. </a:t>
            </a:r>
            <a:r>
              <a:rPr lang="ru-RU" sz="1400" b="1" dirty="0" smtClean="0"/>
              <a:t>Определение стабильных и нестабильных привлеченных средств ф.л.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928436" y="3123721"/>
            <a:ext cx="4149664" cy="36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r>
              <a:rPr lang="en-US" sz="1400" b="1" dirty="0" smtClean="0"/>
              <a:t>3. </a:t>
            </a:r>
            <a:r>
              <a:rPr lang="ru-RU" sz="1400" b="1" dirty="0" smtClean="0"/>
              <a:t>Анализ ломбардного списка ЦБ РФ</a:t>
            </a:r>
            <a:endParaRPr lang="en-US" sz="1400" b="1" dirty="0"/>
          </a:p>
        </p:txBody>
      </p:sp>
      <p:sp>
        <p:nvSpPr>
          <p:cNvPr id="2048" name="Rectangle 2047"/>
          <p:cNvSpPr/>
          <p:nvPr/>
        </p:nvSpPr>
        <p:spPr>
          <a:xfrm>
            <a:off x="945266" y="3695267"/>
            <a:ext cx="34362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4</a:t>
            </a:r>
            <a:r>
              <a:rPr lang="en-GB" sz="1400" b="1" dirty="0" smtClean="0"/>
              <a:t>. </a:t>
            </a:r>
            <a:r>
              <a:rPr lang="ru-RU" sz="1400" b="1" dirty="0" smtClean="0"/>
              <a:t>Классификация данных</a:t>
            </a:r>
            <a:endParaRPr lang="en-GB" sz="1400" b="1" dirty="0"/>
          </a:p>
        </p:txBody>
      </p:sp>
      <p:sp>
        <p:nvSpPr>
          <p:cNvPr id="2049" name="Right Brace 2048"/>
          <p:cNvSpPr/>
          <p:nvPr/>
        </p:nvSpPr>
        <p:spPr>
          <a:xfrm>
            <a:off x="5445457" y="2097285"/>
            <a:ext cx="655092" cy="2522340"/>
          </a:xfrm>
          <a:prstGeom prst="rightBrace">
            <a:avLst/>
          </a:prstGeom>
          <a:solidFill>
            <a:schemeClr val="bg1"/>
          </a:solidFill>
          <a:ln w="22225" cap="rnd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7" name="Straight Connector 56"/>
          <p:cNvCxnSpPr/>
          <p:nvPr/>
        </p:nvCxnSpPr>
        <p:spPr bwMode="auto">
          <a:xfrm>
            <a:off x="945267" y="3601856"/>
            <a:ext cx="3823047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 bwMode="auto">
          <a:xfrm>
            <a:off x="1029569" y="3094605"/>
            <a:ext cx="3823047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 bwMode="auto">
          <a:xfrm>
            <a:off x="978012" y="2556845"/>
            <a:ext cx="3823047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58" name="TextBox 2057"/>
          <p:cNvSpPr txBox="1"/>
          <p:nvPr/>
        </p:nvSpPr>
        <p:spPr>
          <a:xfrm>
            <a:off x="6308800" y="3277930"/>
            <a:ext cx="2210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Данные готовы к расчетам</a:t>
            </a:r>
            <a:endParaRPr lang="en-GB" sz="1400" dirty="0"/>
          </a:p>
        </p:txBody>
      </p:sp>
      <p:sp>
        <p:nvSpPr>
          <p:cNvPr id="21" name="Rectangle 20"/>
          <p:cNvSpPr/>
          <p:nvPr/>
        </p:nvSpPr>
        <p:spPr>
          <a:xfrm>
            <a:off x="978012" y="4155444"/>
            <a:ext cx="34362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5</a:t>
            </a:r>
            <a:r>
              <a:rPr lang="en-GB" sz="1400" b="1" dirty="0" smtClean="0"/>
              <a:t>. </a:t>
            </a:r>
            <a:r>
              <a:rPr lang="ru-RU" sz="1400" b="1" dirty="0" smtClean="0"/>
              <a:t>Сохранение информации</a:t>
            </a:r>
            <a:endParaRPr lang="en-GB" sz="1400" b="1" dirty="0"/>
          </a:p>
        </p:txBody>
      </p:sp>
      <p:cxnSp>
        <p:nvCxnSpPr>
          <p:cNvPr id="22" name="Straight Connector 21"/>
          <p:cNvCxnSpPr/>
          <p:nvPr/>
        </p:nvCxnSpPr>
        <p:spPr bwMode="auto">
          <a:xfrm>
            <a:off x="978013" y="4062033"/>
            <a:ext cx="3823047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350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47747"/>
              </p:ext>
            </p:extLst>
          </p:nvPr>
        </p:nvGraphicFramePr>
        <p:xfrm>
          <a:off x="1085757" y="1637413"/>
          <a:ext cx="6983603" cy="8742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7314975"/>
              </p:ext>
            </p:extLst>
          </p:nvPr>
        </p:nvGraphicFramePr>
        <p:xfrm>
          <a:off x="2088526" y="2923953"/>
          <a:ext cx="5301101" cy="1234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Minus 9"/>
          <p:cNvSpPr/>
          <p:nvPr/>
        </p:nvSpPr>
        <p:spPr>
          <a:xfrm>
            <a:off x="543287" y="2650582"/>
            <a:ext cx="8240713" cy="133597"/>
          </a:xfrm>
          <a:prstGeom prst="mathMinus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sp>
        <p:nvSpPr>
          <p:cNvPr id="8" name="Title 3"/>
          <p:cNvSpPr txBox="1">
            <a:spLocks/>
          </p:cNvSpPr>
          <p:nvPr/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rgbClr val="27272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асчет показателя краткосрочной ликвидности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360000" y="914400"/>
            <a:ext cx="2563919" cy="367110"/>
          </a:xfrm>
          <a:prstGeom prst="rect">
            <a:avLst/>
          </a:prstGeom>
          <a:gradFill>
            <a:gsLst>
              <a:gs pos="20000">
                <a:schemeClr val="accent5">
                  <a:tint val="9000"/>
                </a:schemeClr>
              </a:gs>
              <a:gs pos="100000">
                <a:srgbClr val="C00000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/>
              <a:t>4</a:t>
            </a:r>
            <a:r>
              <a:rPr lang="en-GB" dirty="0" smtClean="0"/>
              <a:t>. </a:t>
            </a:r>
            <a:r>
              <a:rPr lang="ru-RU" dirty="0" smtClean="0"/>
              <a:t>Расчет ПКЛ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762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60000" y="180000"/>
            <a:ext cx="8424000" cy="5400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rgbClr val="27272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асчет ПКЛ – конфигурированные правила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9" t="33758" r="8979" b="23880"/>
          <a:stretch/>
        </p:blipFill>
        <p:spPr bwMode="auto">
          <a:xfrm>
            <a:off x="293325" y="876300"/>
            <a:ext cx="5436000" cy="2304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29" t="66007" r="6401" b="3715"/>
          <a:stretch/>
        </p:blipFill>
        <p:spPr bwMode="auto">
          <a:xfrm>
            <a:off x="2562224" y="2598085"/>
            <a:ext cx="6120000" cy="180000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485900" y="4440600"/>
            <a:ext cx="5314949" cy="369332"/>
          </a:xfrm>
          <a:prstGeom prst="rect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50000">
                <a:schemeClr val="accent3">
                  <a:lumMod val="20000"/>
                  <a:lumOff val="80000"/>
                </a:schemeClr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5400000" scaled="0"/>
          </a:gra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dirty="0" smtClean="0"/>
              <a:t>Никаких черных ящиков. Полный аудит прави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41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60000" y="914400"/>
            <a:ext cx="3621450" cy="369332"/>
          </a:xfrm>
          <a:prstGeom prst="rect">
            <a:avLst/>
          </a:prstGeom>
          <a:gradFill>
            <a:gsLst>
              <a:gs pos="20000">
                <a:schemeClr val="accent5">
                  <a:tint val="9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5</a:t>
            </a:r>
            <a:r>
              <a:rPr lang="en-GB" dirty="0" smtClean="0"/>
              <a:t>. </a:t>
            </a:r>
            <a:r>
              <a:rPr lang="ru-RU" dirty="0" smtClean="0"/>
              <a:t>Формирование отчета</a:t>
            </a:r>
            <a:endParaRPr lang="en-GB" dirty="0"/>
          </a:p>
        </p:txBody>
      </p:sp>
      <p:sp>
        <p:nvSpPr>
          <p:cNvPr id="13" name="Title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200" kern="1200">
                <a:solidFill>
                  <a:srgbClr val="27272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Формирование отчета</a:t>
            </a:r>
            <a:endParaRPr lang="en-GB" dirty="0"/>
          </a:p>
        </p:txBody>
      </p:sp>
      <p:pic>
        <p:nvPicPr>
          <p:cNvPr id="15" name="Picture 14"/>
          <p:cNvPicPr/>
          <p:nvPr/>
        </p:nvPicPr>
        <p:blipFill rotWithShape="1">
          <a:blip r:embed="rId3"/>
          <a:srcRect t="5052" r="26670" b="8070"/>
          <a:stretch/>
        </p:blipFill>
        <p:spPr>
          <a:xfrm>
            <a:off x="360000" y="1428115"/>
            <a:ext cx="4069125" cy="29533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Right Arrow 5"/>
          <p:cNvSpPr/>
          <p:nvPr/>
        </p:nvSpPr>
        <p:spPr>
          <a:xfrm>
            <a:off x="4495800" y="2785615"/>
            <a:ext cx="647700" cy="381000"/>
          </a:xfrm>
          <a:prstGeom prst="rightArrow">
            <a:avLst/>
          </a:prstGeom>
          <a:gradFill>
            <a:gsLst>
              <a:gs pos="0">
                <a:srgbClr val="E94952"/>
              </a:gs>
              <a:gs pos="33000">
                <a:srgbClr val="EE75AA"/>
              </a:gs>
              <a:gs pos="46750">
                <a:schemeClr val="bg2"/>
              </a:gs>
              <a:gs pos="53000">
                <a:srgbClr val="EE75AA"/>
              </a:gs>
              <a:gs pos="68000">
                <a:schemeClr val="accent5">
                  <a:lumMod val="60000"/>
                  <a:lumOff val="40000"/>
                </a:schemeClr>
              </a:gs>
              <a:gs pos="100000">
                <a:srgbClr val="E94952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2" t="29073" r="54939" b="13298"/>
          <a:stretch/>
        </p:blipFill>
        <p:spPr bwMode="auto">
          <a:xfrm>
            <a:off x="5239875" y="1572115"/>
            <a:ext cx="3600000" cy="2808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</p:spPr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21" name="Date Placeholder 5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</p:spPr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797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675"/>
                    </a14:imgEffect>
                    <a14:imgEffect>
                      <a14:saturation sat="29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16" t="10918" r="70385" b="37615"/>
          <a:stretch/>
        </p:blipFill>
        <p:spPr bwMode="auto">
          <a:xfrm>
            <a:off x="5207738" y="1085024"/>
            <a:ext cx="3312000" cy="35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втоматизированный процесс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5398766"/>
              </p:ext>
            </p:extLst>
          </p:nvPr>
        </p:nvGraphicFramePr>
        <p:xfrm>
          <a:off x="360000" y="942148"/>
          <a:ext cx="7660050" cy="2667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104" name="Picture 8" descr="http://yesboxx.com/assets/long_arrow2-cfe8563a369a79357d0fcf3c44f8d8e3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614951">
            <a:off x="2897656" y="733258"/>
            <a:ext cx="1704975" cy="5251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670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8BCC6A2-DB4F-4A02-8E22-11BA05CCE8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7760118-092D-47DA-9065-ABC118F1DD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CF420E3-EBF2-4FE3-874D-6AFE4B5E7E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C84A938-B89D-40C2-A7D2-F04B406EB1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3504563-4ECD-449F-964A-43E4A358C4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ide </a:t>
            </a:r>
            <a:fld id="{6C6772C5-0E76-4BB3-A067-2311F7110270}" type="slidenum">
              <a:rPr lang="en-GB" smtClean="0"/>
              <a:pPr>
                <a:defRPr/>
              </a:pPr>
              <a:t>17</a:t>
            </a:fld>
            <a:r>
              <a:rPr lang="en-GB" smtClean="0"/>
              <a:t>      </a:t>
            </a:r>
            <a:r>
              <a:rPr lang="en-GB" smtClean="0">
                <a:cs typeface="Arial"/>
              </a:rPr>
              <a:t>©MISYS 2012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isys </a:t>
            </a:r>
            <a:r>
              <a:rPr lang="ru-RU" dirty="0" smtClean="0"/>
              <a:t>предлагает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40994531"/>
              </p:ext>
            </p:extLst>
          </p:nvPr>
        </p:nvGraphicFramePr>
        <p:xfrm>
          <a:off x="85725" y="847725"/>
          <a:ext cx="6591300" cy="2457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0000" y="4855500"/>
            <a:ext cx="471778" cy="216000"/>
          </a:xfrm>
        </p:spPr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13" name="Date Placeholder 5"/>
          <p:cNvSpPr>
            <a:spLocks noGrp="1"/>
          </p:cNvSpPr>
          <p:nvPr>
            <p:ph type="dt" sz="half" idx="2"/>
          </p:nvPr>
        </p:nvSpPr>
        <p:spPr>
          <a:xfrm>
            <a:off x="928435" y="4854792"/>
            <a:ext cx="1471990" cy="216000"/>
          </a:xfrm>
        </p:spPr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23" name="TextBox 22"/>
          <p:cNvSpPr txBox="1"/>
          <p:nvPr/>
        </p:nvSpPr>
        <p:spPr>
          <a:xfrm>
            <a:off x="4600575" y="3000375"/>
            <a:ext cx="3709613" cy="120032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</a:schemeClr>
              </a:gs>
              <a:gs pos="33000">
                <a:schemeClr val="accent3">
                  <a:lumMod val="60000"/>
                  <a:lumOff val="40000"/>
                </a:schemeClr>
              </a:gs>
              <a:gs pos="46750">
                <a:schemeClr val="accent3">
                  <a:lumMod val="60000"/>
                  <a:lumOff val="40000"/>
                </a:schemeClr>
              </a:gs>
              <a:gs pos="53000">
                <a:schemeClr val="accent3">
                  <a:lumMod val="60000"/>
                  <a:lumOff val="40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27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200" dirty="0" smtClean="0"/>
              <a:t>Выполнение проекта в кратчайшие сроки</a:t>
            </a:r>
            <a:endParaRPr lang="ru-RU" sz="1200" b="1" dirty="0" smtClean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200" dirty="0" smtClean="0"/>
              <a:t>Участие локального партнера (опционально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200" dirty="0" smtClean="0"/>
              <a:t>Участие команды банка в подготовке данных и тестировании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5087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GB" dirty="0" smtClean="0"/>
              <a:t>Misys </a:t>
            </a:r>
            <a:r>
              <a:rPr lang="en-US" dirty="0" smtClean="0"/>
              <a:t>Fusion </a:t>
            </a:r>
            <a:r>
              <a:rPr lang="en-US" dirty="0"/>
              <a:t>Risk </a:t>
            </a:r>
            <a:r>
              <a:rPr lang="ru-RU" dirty="0"/>
              <a:t>обеспечивает не только соответствие требованиям регулятоора, но и возможность принятия бизнес-решений с учетом </a:t>
            </a:r>
            <a:r>
              <a:rPr lang="ru-RU" dirty="0" smtClean="0"/>
              <a:t>рисков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Компонентная структура решения позволяет произвести </a:t>
            </a:r>
            <a:r>
              <a:rPr lang="ru-RU" dirty="0" smtClean="0"/>
              <a:t>внедрение </a:t>
            </a:r>
            <a:r>
              <a:rPr lang="ru-RU" dirty="0"/>
              <a:t>в кратчайшие сроки и с полным соблюдением требований </a:t>
            </a:r>
            <a:r>
              <a:rPr lang="ru-RU" dirty="0" smtClean="0"/>
              <a:t>регулятора</a:t>
            </a:r>
          </a:p>
          <a:p>
            <a:pPr algn="just"/>
            <a:endParaRPr lang="ru-RU" dirty="0"/>
          </a:p>
          <a:p>
            <a:pPr algn="just"/>
            <a:r>
              <a:rPr lang="en-US" dirty="0"/>
              <a:t>Misys Fusion Risk</a:t>
            </a:r>
            <a:r>
              <a:rPr lang="ru-RU" dirty="0"/>
              <a:t> обеспечивает управление </a:t>
            </a:r>
            <a:r>
              <a:rPr lang="ru-RU" dirty="0" smtClean="0"/>
              <a:t>кредитным </a:t>
            </a:r>
            <a:r>
              <a:rPr lang="ru-RU" dirty="0"/>
              <a:t>и </a:t>
            </a:r>
            <a:r>
              <a:rPr lang="ru-RU" dirty="0" smtClean="0"/>
              <a:t>рыночным </a:t>
            </a:r>
            <a:r>
              <a:rPr lang="ru-RU" dirty="0"/>
              <a:t>рисками, а также риском </a:t>
            </a:r>
            <a:r>
              <a:rPr lang="ru-RU" dirty="0" smtClean="0"/>
              <a:t>ликвидности по банковской книге и торговому портфелю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Решение включает в себя </a:t>
            </a:r>
            <a:r>
              <a:rPr lang="ru-RU" dirty="0" smtClean="0"/>
              <a:t>функционал </a:t>
            </a:r>
            <a:r>
              <a:rPr lang="ru-RU" dirty="0"/>
              <a:t>стресс-тестирования в соответствии со сценариями, </a:t>
            </a:r>
            <a:r>
              <a:rPr lang="ru-RU" dirty="0" smtClean="0"/>
              <a:t>задаваемыми клиентом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Решение </a:t>
            </a:r>
            <a:r>
              <a:rPr lang="ru-RU" dirty="0" smtClean="0"/>
              <a:t>имеет </a:t>
            </a:r>
            <a:r>
              <a:rPr lang="ru-RU" dirty="0"/>
              <a:t>возможность быстрого, </a:t>
            </a:r>
            <a:r>
              <a:rPr lang="en-GB" dirty="0" smtClean="0"/>
              <a:t>online</a:t>
            </a:r>
            <a:r>
              <a:rPr lang="ru-RU" dirty="0" smtClean="0"/>
              <a:t> </a:t>
            </a:r>
            <a:r>
              <a:rPr lang="ru-RU" dirty="0"/>
              <a:t>анализа рисков при помощи модуля </a:t>
            </a:r>
            <a:r>
              <a:rPr lang="en-US" dirty="0"/>
              <a:t>Risk Insight</a:t>
            </a:r>
            <a:r>
              <a:rPr lang="ru-RU" dirty="0"/>
              <a:t>, </a:t>
            </a:r>
            <a:r>
              <a:rPr lang="ru-RU" dirty="0" smtClean="0"/>
              <a:t>отслеживающего </a:t>
            </a:r>
            <a:r>
              <a:rPr lang="ru-RU" dirty="0"/>
              <a:t>состояние ключевых </a:t>
            </a:r>
            <a:r>
              <a:rPr lang="ru-RU" dirty="0" smtClean="0"/>
              <a:t>риск-индикаторов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isys Fusion Risk</a:t>
            </a:r>
            <a:r>
              <a:rPr lang="ru-RU" dirty="0" smtClean="0"/>
              <a:t>. </a:t>
            </a:r>
            <a:r>
              <a:rPr lang="ru-RU" dirty="0"/>
              <a:t>Б</a:t>
            </a:r>
            <a:r>
              <a:rPr lang="ru-RU" dirty="0" smtClean="0"/>
              <a:t>ольше чем просто поддержка регуляторных требований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163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r>
              <a:rPr lang="en-GB" dirty="0" smtClean="0"/>
              <a:t>Misys </a:t>
            </a:r>
            <a:r>
              <a:rPr lang="en-GB" b="1" dirty="0" err="1" smtClean="0"/>
              <a:t>Fusion</a:t>
            </a:r>
            <a:r>
              <a:rPr lang="en-GB" dirty="0" err="1" smtClean="0"/>
              <a:t>Risk</a:t>
            </a:r>
            <a:r>
              <a:rPr lang="en-GB" dirty="0" smtClean="0"/>
              <a:t> – </a:t>
            </a:r>
            <a:r>
              <a:rPr lang="ru-RU" dirty="0" smtClean="0"/>
              <a:t>все, что нужно для управления риском</a:t>
            </a:r>
            <a:endParaRPr lang="en-GB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© Misys 2015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9" name="Rectangle 18"/>
          <p:cNvSpPr>
            <a:spLocks noChangeArrowheads="1"/>
          </p:cNvSpPr>
          <p:nvPr/>
        </p:nvSpPr>
        <p:spPr bwMode="auto">
          <a:xfrm>
            <a:off x="7112769" y="878746"/>
            <a:ext cx="1514050" cy="38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08000" bIns="108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en-US" sz="1400" b="1" dirty="0" smtClean="0">
                <a:solidFill>
                  <a:srgbClr val="414141"/>
                </a:solidFill>
              </a:rPr>
              <a:t>Главное</a:t>
            </a:r>
            <a:endParaRPr lang="en-GB" altLang="en-US" sz="1400" b="1" dirty="0">
              <a:solidFill>
                <a:srgbClr val="414141"/>
              </a:solidFill>
            </a:endParaRPr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7003798" y="1243159"/>
            <a:ext cx="1699138" cy="331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08000" bIns="108000"/>
          <a:lstStyle>
            <a:lvl1pPr marL="179388" indent="-179388" defTabSz="801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ru-RU" altLang="en-US" sz="1200" dirty="0" smtClean="0">
                <a:solidFill>
                  <a:srgbClr val="414141"/>
                </a:solidFill>
              </a:rPr>
              <a:t>Интегрированная платформа для всех видов риска</a:t>
            </a:r>
            <a:endParaRPr lang="de-DE" altLang="en-US" sz="1200" dirty="0">
              <a:solidFill>
                <a:srgbClr val="414141"/>
              </a:solidFill>
            </a:endParaRPr>
          </a:p>
          <a:p>
            <a:pPr eaLnBrk="1" hangingPunct="1"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ru-RU" altLang="en-US" sz="1200" dirty="0" smtClean="0">
                <a:solidFill>
                  <a:srgbClr val="414141"/>
                </a:solidFill>
              </a:rPr>
              <a:t>Удобный и понятный взгляд на риск</a:t>
            </a:r>
            <a:endParaRPr lang="de-DE" altLang="en-US" sz="1200" dirty="0">
              <a:solidFill>
                <a:srgbClr val="414141"/>
              </a:solidFill>
            </a:endParaRPr>
          </a:p>
          <a:p>
            <a:pPr eaLnBrk="1" hangingPunct="1"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ru-RU" altLang="en-US" sz="1200" dirty="0" smtClean="0">
                <a:solidFill>
                  <a:srgbClr val="414141"/>
                </a:solidFill>
              </a:rPr>
              <a:t>Настраиваемые сценарии</a:t>
            </a:r>
            <a:endParaRPr lang="de-DE" altLang="en-US" sz="1200" dirty="0" smtClean="0">
              <a:solidFill>
                <a:srgbClr val="414141"/>
              </a:solidFill>
            </a:endParaRPr>
          </a:p>
          <a:p>
            <a:pPr eaLnBrk="1" hangingPunct="1"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ru-RU" altLang="en-US" sz="1200" dirty="0" smtClean="0">
                <a:solidFill>
                  <a:srgbClr val="414141"/>
                </a:solidFill>
              </a:rPr>
              <a:t>Настраиваемые модели</a:t>
            </a:r>
          </a:p>
          <a:p>
            <a:pPr eaLnBrk="1" hangingPunct="1"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ru-RU" altLang="en-US" sz="1200" dirty="0" smtClean="0">
                <a:solidFill>
                  <a:srgbClr val="414141"/>
                </a:solidFill>
              </a:rPr>
              <a:t>Сверхбыстрые расчеты и мониторинг</a:t>
            </a:r>
            <a:endParaRPr lang="de-DE" altLang="en-US" sz="1200" dirty="0">
              <a:solidFill>
                <a:srgbClr val="41414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17" y="3062727"/>
            <a:ext cx="5696117" cy="68777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18" y="1014134"/>
            <a:ext cx="5675830" cy="6509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05" y="1685865"/>
            <a:ext cx="5691773" cy="39979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17" y="2145782"/>
            <a:ext cx="5659887" cy="84289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971" y="1252404"/>
            <a:ext cx="1071827" cy="32729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36" y="3751519"/>
            <a:ext cx="5685097" cy="770809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>
            <a:off x="167605" y="2085661"/>
            <a:ext cx="1108746" cy="1665858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050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рисками в России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37" name="Content Placeholder 4"/>
          <p:cNvSpPr>
            <a:spLocks noGrp="1"/>
          </p:cNvSpPr>
          <p:nvPr>
            <p:ph idx="1"/>
          </p:nvPr>
        </p:nvSpPr>
        <p:spPr>
          <a:xfrm>
            <a:off x="359999" y="957105"/>
            <a:ext cx="8606580" cy="3542893"/>
          </a:xfrm>
        </p:spPr>
        <p:txBody>
          <a:bodyPr/>
          <a:lstStyle/>
          <a:p>
            <a:r>
              <a:rPr lang="ru-RU" dirty="0" smtClean="0"/>
              <a:t>В управлении рисками российским банкам приходится догонять мировых лидеров</a:t>
            </a:r>
          </a:p>
          <a:p>
            <a:r>
              <a:rPr lang="ru-RU" dirty="0" smtClean="0"/>
              <a:t>Банк России способствует приведению управления рисками в России к мировым стандартам и унификации с ними</a:t>
            </a:r>
          </a:p>
          <a:p>
            <a:r>
              <a:rPr lang="ru-RU" dirty="0" smtClean="0"/>
              <a:t>Сложность при внедрении для банков в России, в том числе, в оперировании категориями бухгалтерского учета при построении систем отчетности и управления рисками</a:t>
            </a:r>
          </a:p>
          <a:p>
            <a:r>
              <a:rPr lang="ru-RU" dirty="0" smtClean="0"/>
              <a:t>Банк России движется в направлении стандартов </a:t>
            </a:r>
            <a:r>
              <a:rPr lang="en-US" dirty="0" smtClean="0"/>
              <a:t>Basel II/III</a:t>
            </a:r>
            <a:r>
              <a:rPr lang="ru-RU" dirty="0" smtClean="0"/>
              <a:t>, но также зачастую вынужден формулировать требования в терминах бухгалтерского учета (иначе многие  банки не смогут их выполнить)</a:t>
            </a:r>
          </a:p>
          <a:p>
            <a:r>
              <a:rPr lang="ru-RU" dirty="0" smtClean="0"/>
              <a:t>Очевидно, что проактивная позиция в области построения управления рисками предполагает работу не с бухгалтерскими, а с контрактными </a:t>
            </a:r>
            <a:r>
              <a:rPr lang="en-GB" dirty="0" smtClean="0"/>
              <a:t>/</a:t>
            </a:r>
            <a:r>
              <a:rPr lang="ru-RU" dirty="0" smtClean="0"/>
              <a:t> сделочными</a:t>
            </a:r>
            <a:r>
              <a:rPr lang="en-GB" dirty="0" smtClean="0"/>
              <a:t> </a:t>
            </a:r>
            <a:r>
              <a:rPr lang="ru-RU" dirty="0" smtClean="0"/>
              <a:t> данными, учитывая экономическую сущность сделок</a:t>
            </a:r>
          </a:p>
          <a:p>
            <a:r>
              <a:rPr lang="en-GB" b="1" dirty="0" smtClean="0"/>
              <a:t>Misys Fusion Risk</a:t>
            </a:r>
            <a:r>
              <a:rPr lang="en-GB" dirty="0" smtClean="0"/>
              <a:t> - </a:t>
            </a:r>
            <a:r>
              <a:rPr lang="ru-RU" dirty="0" smtClean="0"/>
              <a:t> система мирового уровня, внедряемая в Росс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950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468314" y="301229"/>
            <a:ext cx="6645275" cy="419100"/>
          </a:xfrm>
        </p:spPr>
        <p:txBody>
          <a:bodyPr>
            <a:normAutofit fontScale="90000"/>
          </a:bodyPr>
          <a:lstStyle/>
          <a:p>
            <a:r>
              <a:rPr lang="ru-RU" sz="2400" dirty="0" smtClean="0">
                <a:latin typeface="Arial Narrow" pitchFamily="34" charset="0"/>
                <a:ea typeface="ＭＳ Ｐゴシック" pitchFamily="1" charset="-128"/>
                <a:cs typeface="ＭＳ Ｐゴシック" pitchFamily="1" charset="-128"/>
              </a:rPr>
              <a:t>Ключевые риск-индикаторы на вашем планшете</a:t>
            </a:r>
            <a:endParaRPr lang="en-US" sz="2400" dirty="0" smtClean="0">
              <a:latin typeface="Arial Narrow" pitchFamily="34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73731" name="Content Placeholder 2"/>
          <p:cNvSpPr>
            <a:spLocks noGrp="1"/>
          </p:cNvSpPr>
          <p:nvPr>
            <p:ph idx="4294967295"/>
          </p:nvPr>
        </p:nvSpPr>
        <p:spPr>
          <a:xfrm>
            <a:off x="457200" y="973931"/>
            <a:ext cx="8229600" cy="3620691"/>
          </a:xfrm>
          <a:prstGeom prst="rect">
            <a:avLst/>
          </a:prstGeom>
        </p:spPr>
        <p:txBody>
          <a:bodyPr/>
          <a:lstStyle/>
          <a:p>
            <a:endParaRPr lang="en-US" smtClean="0">
              <a:latin typeface="Avenir LT Std 55 Roman"/>
            </a:endParaRPr>
          </a:p>
        </p:txBody>
      </p:sp>
      <p:pic>
        <p:nvPicPr>
          <p:cNvPr id="73732" name="Picture 2"/>
          <p:cNvPicPr>
            <a:picLocks noChangeAspect="1" noChangeArrowheads="1"/>
          </p:cNvPicPr>
          <p:nvPr/>
        </p:nvPicPr>
        <p:blipFill>
          <a:blip r:embed="rId2" cstate="print"/>
          <a:srcRect l="888" t="7994" r="1399" b="10925"/>
          <a:stretch>
            <a:fillRect/>
          </a:stretch>
        </p:blipFill>
        <p:spPr bwMode="auto">
          <a:xfrm>
            <a:off x="395289" y="838200"/>
            <a:ext cx="8478837" cy="4104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/>
          <a:srcRect l="18267" r="-18267"/>
          <a:stretch/>
        </p:blipFill>
        <p:spPr bwMode="auto">
          <a:xfrm>
            <a:off x="5897026" y="3001116"/>
            <a:ext cx="3485100" cy="1741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1099631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8" descr="DZ_Bank_Polska-logo-58F21CE256-seeklogo_com.gif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331119"/>
            <a:ext cx="19050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7" name="Picture 19" descr="index_r1_c2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410075" y="820340"/>
            <a:ext cx="2033588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8" name="Rectangle 2"/>
          <p:cNvSpPr>
            <a:spLocks noGrp="1" noChangeArrowheads="1"/>
          </p:cNvSpPr>
          <p:nvPr>
            <p:ph type="title"/>
          </p:nvPr>
        </p:nvSpPr>
        <p:spPr>
          <a:xfrm>
            <a:off x="465667" y="121534"/>
            <a:ext cx="8393706" cy="491729"/>
          </a:xfrm>
        </p:spPr>
        <p:txBody>
          <a:bodyPr>
            <a:noAutofit/>
          </a:bodyPr>
          <a:lstStyle/>
          <a:p>
            <a:r>
              <a:rPr lang="en-GB" sz="1800" dirty="0"/>
              <a:t>Misys </a:t>
            </a:r>
            <a:r>
              <a:rPr lang="en-GB" sz="1800" b="1" dirty="0" err="1"/>
              <a:t>Fusion</a:t>
            </a:r>
            <a:r>
              <a:rPr lang="en-GB" sz="1800" dirty="0" err="1"/>
              <a:t>Risk</a:t>
            </a:r>
            <a:r>
              <a:rPr lang="en-GB" sz="1800" dirty="0"/>
              <a:t> –</a:t>
            </a:r>
            <a:r>
              <a:rPr lang="en-US" sz="1800" dirty="0" smtClean="0"/>
              <a:t> </a:t>
            </a:r>
            <a:r>
              <a:rPr lang="ru-RU" sz="1800" dirty="0" smtClean="0"/>
              <a:t>это сплав технологий и модулей, наработанных нами за 30 лет </a:t>
            </a:r>
            <a:r>
              <a:rPr lang="ru-RU" sz="1800" dirty="0"/>
              <a:t>б</a:t>
            </a:r>
            <a:r>
              <a:rPr lang="ru-RU" sz="1800" dirty="0" smtClean="0"/>
              <a:t>олее чем с 400 клиентами!</a:t>
            </a:r>
            <a:endParaRPr lang="zh-TW" altLang="en-GB" sz="1800" dirty="0" smtClean="0">
              <a:ea typeface="PMingLiU" pitchFamily="18" charset="-120"/>
            </a:endParaRPr>
          </a:p>
        </p:txBody>
      </p:sp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613458" y="720329"/>
            <a:ext cx="3853767" cy="3717131"/>
            <a:chOff x="3481388" y="1300163"/>
            <a:chExt cx="4221162" cy="4956175"/>
          </a:xfrm>
        </p:grpSpPr>
        <p:pic>
          <p:nvPicPr>
            <p:cNvPr id="31767" name="Picture 21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481388" y="1654175"/>
              <a:ext cx="4221162" cy="4602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768" name="Picture 6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5257800" y="3295650"/>
              <a:ext cx="1057275" cy="5429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31769" name="Picture 26" descr="File:Commonwealth Bank.svg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719638" y="1300163"/>
              <a:ext cx="2857500" cy="476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1750" name="Date Placeholder 3"/>
          <p:cNvSpPr>
            <a:spLocks noGrp="1"/>
          </p:cNvSpPr>
          <p:nvPr>
            <p:ph type="dt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DE8F7AC-AF47-4CA2-9531-468A4D4C96CD}" type="datetime2">
              <a:rPr lang="en-GB" smtClean="0">
                <a:latin typeface="Avenir LT Std 55 Roma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Friday, 04 September 2015</a:t>
            </a:fld>
            <a:endParaRPr lang="en-GB" smtClean="0">
              <a:latin typeface="Avenir LT Std 55 Roman"/>
            </a:endParaRPr>
          </a:p>
        </p:txBody>
      </p:sp>
      <p:sp>
        <p:nvSpPr>
          <p:cNvPr id="31751" name="Slide Number Placeholder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latin typeface="Avenir LT Std 55 Roman"/>
              </a:rPr>
              <a:t>Slide </a:t>
            </a:r>
            <a:fld id="{79CB3506-BE68-48E4-BB76-AD91CCDBE931}" type="slidenum">
              <a:rPr lang="en-GB" smtClean="0">
                <a:latin typeface="Avenir LT Std 55 Roma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r>
              <a:rPr lang="en-GB" smtClean="0">
                <a:latin typeface="Avenir LT Std 55 Roman"/>
              </a:rPr>
              <a:t>      </a:t>
            </a:r>
            <a:r>
              <a:rPr lang="en-GB" smtClean="0">
                <a:latin typeface="Avenir LT Std 55 Roman"/>
                <a:cs typeface="Arial" pitchFamily="34" charset="0"/>
              </a:rPr>
              <a:t>©MISYS 2013</a:t>
            </a:r>
            <a:endParaRPr lang="en-GB" smtClean="0">
              <a:latin typeface="Avenir LT Std 55 Roman"/>
            </a:endParaRPr>
          </a:p>
        </p:txBody>
      </p:sp>
      <p:sp>
        <p:nvSpPr>
          <p:cNvPr id="31752" name="Rectangle 1">
            <a:hlinkClick r:id="rId11"/>
          </p:cNvPr>
          <p:cNvSpPr>
            <a:spLocks noChangeArrowheads="1"/>
          </p:cNvSpPr>
          <p:nvPr/>
        </p:nvSpPr>
        <p:spPr bwMode="auto">
          <a:xfrm>
            <a:off x="0" y="-184666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1753" name="Rectangle 2">
            <a:hlinkClick r:id="rId11"/>
          </p:cNvPr>
          <p:cNvSpPr>
            <a:spLocks noChangeArrowheads="1"/>
          </p:cNvSpPr>
          <p:nvPr/>
        </p:nvSpPr>
        <p:spPr bwMode="auto">
          <a:xfrm>
            <a:off x="0" y="-184666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1754" name="Rectangle 3">
            <a:hlinkClick r:id="rId11"/>
          </p:cNvPr>
          <p:cNvSpPr>
            <a:spLocks noChangeArrowheads="1"/>
          </p:cNvSpPr>
          <p:nvPr/>
        </p:nvSpPr>
        <p:spPr bwMode="auto">
          <a:xfrm>
            <a:off x="0" y="-184666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31755" name="AutoShape 4" descr="BKCP Banque - Heureusement pas la plus grande !"/>
          <p:cNvSpPr>
            <a:spLocks noChangeAspect="1" noChangeArrowheads="1"/>
          </p:cNvSpPr>
          <p:nvPr/>
        </p:nvSpPr>
        <p:spPr bwMode="auto">
          <a:xfrm>
            <a:off x="0" y="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6" name="AutoShape 5" descr="BKCP Banque - Heureusement pas la plus grande !"/>
          <p:cNvSpPr>
            <a:spLocks noChangeAspect="1" noChangeArrowheads="1"/>
          </p:cNvSpPr>
          <p:nvPr/>
        </p:nvSpPr>
        <p:spPr bwMode="auto">
          <a:xfrm>
            <a:off x="0" y="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1757" name="Picture 16" descr="bkcp-nl.gif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836724" y="1477632"/>
            <a:ext cx="1449387" cy="432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8" name="Picture 17" descr="logo.gif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467226" y="2077640"/>
            <a:ext cx="10572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9" name="Picture 18" descr="int-logo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4430713" y="2840832"/>
            <a:ext cx="1173162" cy="540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0" name="Picture 20" descr="images.jp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511675" y="3381375"/>
            <a:ext cx="1028700" cy="767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1" name="Picture 21" descr="NB.bmp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4562476" y="4149328"/>
            <a:ext cx="866775" cy="41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2" name="Picture 22" descr="BIG.bmp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144463" y="797720"/>
            <a:ext cx="854075" cy="525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3" name="Picture 23" descr="OCBC.bmp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102394" y="1487090"/>
            <a:ext cx="1792287" cy="282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4" name="Picture 24" descr="BFM.gif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44463" y="2324100"/>
            <a:ext cx="923925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5" name="Picture 25" descr="EGB.bmp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53975" y="3146823"/>
            <a:ext cx="1014412" cy="473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6" name="Picture 26" descr="ILP.bmp"/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53976" y="3620684"/>
            <a:ext cx="1014412" cy="39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148240" y="815812"/>
            <a:ext cx="9144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41" y="1442618"/>
            <a:ext cx="1315289" cy="322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2722" y="1442618"/>
            <a:ext cx="1371600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35" descr="_2_0A34E89C0A34E630001E8777C1257A7D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391" y="1909829"/>
            <a:ext cx="123825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40" descr="http://t3.gstatic.com/images?q=tbn:ANd9GcSrapss-6U9thCFGpxtZh6iW4h4XWEHwu87dRK-XXR9lUgDRLQV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712" y="1872127"/>
            <a:ext cx="1546017" cy="32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http://t3.gstatic.com/images?q=tbn:ANd9GcRVPH6H2e1_-QCNF93SEKesoFuiDWPQDT1KUKMxVqq4lie0DgPn1A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2723" y="2463233"/>
            <a:ext cx="1006929" cy="755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http://t0.gstatic.com/images?q=tbn:ANd9GcSglo3lL1F_XoCM04kuAlzzzhPW6HP2IQLzpMc7GCfhqdX2AXOd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197" y="2862466"/>
            <a:ext cx="1676024" cy="396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7" descr="http://t3.gstatic.com/images?q=tbn:ANd9GcRssL4e_xQuLkbRI4Wwo7s7L7RozgLTnVoSJRHBT6QrAaNKwqwTWQ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484" y="3583004"/>
            <a:ext cx="1009650" cy="217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0" descr="http://www.emiratesnbd.com/assets/images/logo_emirates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250" y="3976243"/>
            <a:ext cx="1242969" cy="277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2" descr="https://www.samba.com/GblImages/sambaonline-logo.jp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2722" y="3258945"/>
            <a:ext cx="1391398" cy="290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" descr="Home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3129" y="3620683"/>
            <a:ext cx="1696244" cy="360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4" descr="http://t0.gstatic.com/images?q=tbn:ANd9GcSajuFNZChrpN9zwaxmcK6tUZbvpwnoV_5QW5vIE8gyoGM0Xv2j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470" y="806053"/>
            <a:ext cx="1348297" cy="409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6" descr="http://t1.gstatic.com/images?q=tbn:ANd9GcRb42G_RUHeRMDkfIJHCyDo_JNTBTwoGY99Vprrh6KGdsZhhgkJ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434" y="4149328"/>
            <a:ext cx="2086070" cy="25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9" descr="http://t2.gstatic.com/images?q=tbn:ANd9GcQE1N0uvLJ1MjaGOGLv0E8v_A9z9B-PqTJPM7T8xEK_bKTWuAqY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822" y="806054"/>
            <a:ext cx="1438694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1" descr="http://t3.gstatic.com/images?q=tbn:ANd9GcTqFkMRbS5AnT7qRdc3ZRcSyWq2wUlNhB7zPnbfwrRcK6nSnB-YbA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484" y="2197557"/>
            <a:ext cx="1304925" cy="734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35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518" y="3258945"/>
            <a:ext cx="2128837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53" descr="http://t2.gstatic.com/images?q=tbn:ANd9GcSaXwvem4P-9i_e5EH_6kNab9lZiwsqXrGArraur6MAZY7GXG0lC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209" y="1538532"/>
            <a:ext cx="831850" cy="189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0" name="Group 127"/>
          <p:cNvGrpSpPr>
            <a:grpSpLocks/>
          </p:cNvGrpSpPr>
          <p:nvPr/>
        </p:nvGrpSpPr>
        <p:grpSpPr bwMode="auto">
          <a:xfrm>
            <a:off x="2713807" y="1168005"/>
            <a:ext cx="3355977" cy="3027314"/>
            <a:chOff x="323" y="1652"/>
            <a:chExt cx="2539" cy="2539"/>
          </a:xfrm>
        </p:grpSpPr>
        <p:sp>
          <p:nvSpPr>
            <p:cNvPr id="61" name="Freeform 79"/>
            <p:cNvSpPr>
              <a:spLocks/>
            </p:cNvSpPr>
            <p:nvPr/>
          </p:nvSpPr>
          <p:spPr bwMode="gray">
            <a:xfrm>
              <a:off x="1633" y="1652"/>
              <a:ext cx="1039" cy="730"/>
            </a:xfrm>
            <a:custGeom>
              <a:avLst/>
              <a:gdLst/>
              <a:ahLst/>
              <a:cxnLst>
                <a:cxn ang="0">
                  <a:pos x="20" y="23"/>
                </a:cxn>
                <a:cxn ang="0">
                  <a:pos x="18" y="25"/>
                </a:cxn>
                <a:cxn ang="0">
                  <a:pos x="0" y="46"/>
                </a:cxn>
                <a:cxn ang="0">
                  <a:pos x="200" y="162"/>
                </a:cxn>
                <a:cxn ang="0">
                  <a:pos x="230" y="168"/>
                </a:cxn>
                <a:cxn ang="0">
                  <a:pos x="240" y="139"/>
                </a:cxn>
                <a:cxn ang="0">
                  <a:pos x="0" y="0"/>
                </a:cxn>
                <a:cxn ang="0">
                  <a:pos x="18" y="21"/>
                </a:cxn>
                <a:cxn ang="0">
                  <a:pos x="20" y="23"/>
                </a:cxn>
              </a:cxnLst>
              <a:rect l="0" t="0" r="r" b="b"/>
              <a:pathLst>
                <a:path w="240" h="168">
                  <a:moveTo>
                    <a:pt x="20" y="23"/>
                  </a:moveTo>
                  <a:cubicBezTo>
                    <a:pt x="18" y="25"/>
                    <a:pt x="18" y="25"/>
                    <a:pt x="18" y="2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4" y="49"/>
                    <a:pt x="158" y="94"/>
                    <a:pt x="200" y="162"/>
                  </a:cubicBezTo>
                  <a:cubicBezTo>
                    <a:pt x="230" y="168"/>
                    <a:pt x="230" y="168"/>
                    <a:pt x="230" y="168"/>
                  </a:cubicBezTo>
                  <a:cubicBezTo>
                    <a:pt x="240" y="139"/>
                    <a:pt x="240" y="139"/>
                    <a:pt x="240" y="139"/>
                  </a:cubicBezTo>
                  <a:cubicBezTo>
                    <a:pt x="190" y="58"/>
                    <a:pt x="101" y="3"/>
                    <a:pt x="0" y="0"/>
                  </a:cubicBezTo>
                  <a:cubicBezTo>
                    <a:pt x="18" y="21"/>
                    <a:pt x="18" y="21"/>
                    <a:pt x="18" y="21"/>
                  </a:cubicBezTo>
                  <a:lnTo>
                    <a:pt x="20" y="23"/>
                  </a:lnTo>
                  <a:close/>
                </a:path>
              </a:pathLst>
            </a:custGeom>
            <a:solidFill>
              <a:srgbClr val="969696"/>
            </a:solidFill>
            <a:ln w="317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2" name="Freeform 80"/>
            <p:cNvSpPr>
              <a:spLocks/>
            </p:cNvSpPr>
            <p:nvPr/>
          </p:nvSpPr>
          <p:spPr bwMode="gray">
            <a:xfrm>
              <a:off x="323" y="2293"/>
              <a:ext cx="325" cy="1229"/>
            </a:xfrm>
            <a:custGeom>
              <a:avLst/>
              <a:gdLst/>
              <a:ahLst/>
              <a:cxnLst>
                <a:cxn ang="0">
                  <a:pos x="45" y="254"/>
                </a:cxn>
                <a:cxn ang="0">
                  <a:pos x="47" y="255"/>
                </a:cxn>
                <a:cxn ang="0">
                  <a:pos x="75" y="261"/>
                </a:cxn>
                <a:cxn ang="0">
                  <a:pos x="46" y="145"/>
                </a:cxn>
                <a:cxn ang="0">
                  <a:pos x="75" y="29"/>
                </a:cxn>
                <a:cxn ang="0">
                  <a:pos x="65" y="0"/>
                </a:cxn>
                <a:cxn ang="0">
                  <a:pos x="35" y="6"/>
                </a:cxn>
                <a:cxn ang="0">
                  <a:pos x="0" y="145"/>
                </a:cxn>
                <a:cxn ang="0">
                  <a:pos x="35" y="283"/>
                </a:cxn>
                <a:cxn ang="0">
                  <a:pos x="44" y="257"/>
                </a:cxn>
                <a:cxn ang="0">
                  <a:pos x="45" y="254"/>
                </a:cxn>
              </a:cxnLst>
              <a:rect l="0" t="0" r="r" b="b"/>
              <a:pathLst>
                <a:path w="75" h="283">
                  <a:moveTo>
                    <a:pt x="45" y="254"/>
                  </a:moveTo>
                  <a:cubicBezTo>
                    <a:pt x="47" y="255"/>
                    <a:pt x="47" y="255"/>
                    <a:pt x="47" y="255"/>
                  </a:cubicBezTo>
                  <a:cubicBezTo>
                    <a:pt x="75" y="261"/>
                    <a:pt x="75" y="261"/>
                    <a:pt x="75" y="261"/>
                  </a:cubicBezTo>
                  <a:cubicBezTo>
                    <a:pt x="57" y="226"/>
                    <a:pt x="46" y="187"/>
                    <a:pt x="46" y="145"/>
                  </a:cubicBezTo>
                  <a:cubicBezTo>
                    <a:pt x="46" y="103"/>
                    <a:pt x="57" y="63"/>
                    <a:pt x="75" y="29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13" y="47"/>
                    <a:pt x="0" y="94"/>
                    <a:pt x="0" y="145"/>
                  </a:cubicBezTo>
                  <a:cubicBezTo>
                    <a:pt x="0" y="195"/>
                    <a:pt x="13" y="242"/>
                    <a:pt x="35" y="283"/>
                  </a:cubicBezTo>
                  <a:cubicBezTo>
                    <a:pt x="44" y="257"/>
                    <a:pt x="44" y="257"/>
                    <a:pt x="44" y="257"/>
                  </a:cubicBezTo>
                  <a:lnTo>
                    <a:pt x="45" y="254"/>
                  </a:lnTo>
                  <a:close/>
                </a:path>
              </a:pathLst>
            </a:custGeom>
            <a:solidFill>
              <a:srgbClr val="969696"/>
            </a:solidFill>
            <a:ln w="317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3" name="Freeform 81"/>
            <p:cNvSpPr>
              <a:spLocks/>
            </p:cNvSpPr>
            <p:nvPr/>
          </p:nvSpPr>
          <p:spPr bwMode="gray">
            <a:xfrm>
              <a:off x="513" y="3466"/>
              <a:ext cx="1046" cy="725"/>
            </a:xfrm>
            <a:custGeom>
              <a:avLst/>
              <a:gdLst/>
              <a:ahLst/>
              <a:cxnLst>
                <a:cxn ang="0">
                  <a:pos x="220" y="145"/>
                </a:cxn>
                <a:cxn ang="0">
                  <a:pos x="222" y="143"/>
                </a:cxn>
                <a:cxn ang="0">
                  <a:pos x="241" y="121"/>
                </a:cxn>
                <a:cxn ang="0">
                  <a:pos x="40" y="6"/>
                </a:cxn>
                <a:cxn ang="0">
                  <a:pos x="9" y="0"/>
                </a:cxn>
                <a:cxn ang="0">
                  <a:pos x="0" y="28"/>
                </a:cxn>
                <a:cxn ang="0">
                  <a:pos x="240" y="167"/>
                </a:cxn>
                <a:cxn ang="0">
                  <a:pos x="222" y="147"/>
                </a:cxn>
                <a:cxn ang="0">
                  <a:pos x="220" y="145"/>
                </a:cxn>
              </a:cxnLst>
              <a:rect l="0" t="0" r="r" b="b"/>
              <a:pathLst>
                <a:path w="241" h="167">
                  <a:moveTo>
                    <a:pt x="220" y="145"/>
                  </a:moveTo>
                  <a:cubicBezTo>
                    <a:pt x="222" y="143"/>
                    <a:pt x="222" y="143"/>
                    <a:pt x="222" y="143"/>
                  </a:cubicBezTo>
                  <a:cubicBezTo>
                    <a:pt x="241" y="121"/>
                    <a:pt x="241" y="121"/>
                    <a:pt x="241" y="121"/>
                  </a:cubicBezTo>
                  <a:cubicBezTo>
                    <a:pt x="156" y="119"/>
                    <a:pt x="82" y="73"/>
                    <a:pt x="40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50" y="110"/>
                    <a:pt x="139" y="164"/>
                    <a:pt x="240" y="167"/>
                  </a:cubicBezTo>
                  <a:cubicBezTo>
                    <a:pt x="222" y="147"/>
                    <a:pt x="222" y="147"/>
                    <a:pt x="222" y="147"/>
                  </a:cubicBezTo>
                  <a:lnTo>
                    <a:pt x="220" y="145"/>
                  </a:lnTo>
                  <a:close/>
                </a:path>
              </a:pathLst>
            </a:custGeom>
            <a:solidFill>
              <a:srgbClr val="969696"/>
            </a:solidFill>
            <a:ln w="317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4" name="Freeform 82"/>
            <p:cNvSpPr>
              <a:spLocks/>
            </p:cNvSpPr>
            <p:nvPr/>
          </p:nvSpPr>
          <p:spPr bwMode="gray">
            <a:xfrm>
              <a:off x="513" y="1652"/>
              <a:ext cx="1128" cy="704"/>
            </a:xfrm>
            <a:custGeom>
              <a:avLst/>
              <a:gdLst/>
              <a:ahLst/>
              <a:cxnLst>
                <a:cxn ang="0">
                  <a:pos x="30" y="133"/>
                </a:cxn>
                <a:cxn ang="0">
                  <a:pos x="31" y="135"/>
                </a:cxn>
                <a:cxn ang="0">
                  <a:pos x="40" y="162"/>
                </a:cxn>
                <a:cxn ang="0">
                  <a:pos x="240" y="46"/>
                </a:cxn>
                <a:cxn ang="0">
                  <a:pos x="260" y="23"/>
                </a:cxn>
                <a:cxn ang="0">
                  <a:pos x="240" y="0"/>
                </a:cxn>
                <a:cxn ang="0">
                  <a:pos x="0" y="139"/>
                </a:cxn>
                <a:cxn ang="0">
                  <a:pos x="27" y="133"/>
                </a:cxn>
                <a:cxn ang="0">
                  <a:pos x="30" y="133"/>
                </a:cxn>
              </a:cxnLst>
              <a:rect l="0" t="0" r="r" b="b"/>
              <a:pathLst>
                <a:path w="260" h="162">
                  <a:moveTo>
                    <a:pt x="30" y="133"/>
                  </a:moveTo>
                  <a:cubicBezTo>
                    <a:pt x="31" y="135"/>
                    <a:pt x="31" y="135"/>
                    <a:pt x="31" y="135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82" y="95"/>
                    <a:pt x="156" y="49"/>
                    <a:pt x="240" y="46"/>
                  </a:cubicBezTo>
                  <a:cubicBezTo>
                    <a:pt x="260" y="23"/>
                    <a:pt x="260" y="23"/>
                    <a:pt x="260" y="23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139" y="3"/>
                    <a:pt x="50" y="58"/>
                    <a:pt x="0" y="139"/>
                  </a:cubicBezTo>
                  <a:cubicBezTo>
                    <a:pt x="27" y="133"/>
                    <a:pt x="27" y="133"/>
                    <a:pt x="27" y="133"/>
                  </a:cubicBezTo>
                  <a:lnTo>
                    <a:pt x="30" y="133"/>
                  </a:lnTo>
                  <a:close/>
                </a:path>
              </a:pathLst>
            </a:custGeom>
            <a:solidFill>
              <a:srgbClr val="336699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5" name="Freeform 83"/>
            <p:cNvSpPr>
              <a:spLocks/>
            </p:cNvSpPr>
            <p:nvPr/>
          </p:nvSpPr>
          <p:spPr bwMode="gray">
            <a:xfrm>
              <a:off x="2537" y="2321"/>
              <a:ext cx="325" cy="1227"/>
            </a:xfrm>
            <a:custGeom>
              <a:avLst/>
              <a:gdLst/>
              <a:ahLst/>
              <a:cxnLst>
                <a:cxn ang="0">
                  <a:pos x="30" y="29"/>
                </a:cxn>
                <a:cxn ang="0">
                  <a:pos x="27" y="28"/>
                </a:cxn>
                <a:cxn ang="0">
                  <a:pos x="0" y="23"/>
                </a:cxn>
                <a:cxn ang="0">
                  <a:pos x="29" y="139"/>
                </a:cxn>
                <a:cxn ang="0">
                  <a:pos x="0" y="254"/>
                </a:cxn>
                <a:cxn ang="0">
                  <a:pos x="10" y="283"/>
                </a:cxn>
                <a:cxn ang="0">
                  <a:pos x="40" y="277"/>
                </a:cxn>
                <a:cxn ang="0">
                  <a:pos x="75" y="139"/>
                </a:cxn>
                <a:cxn ang="0">
                  <a:pos x="40" y="0"/>
                </a:cxn>
                <a:cxn ang="0">
                  <a:pos x="31" y="26"/>
                </a:cxn>
                <a:cxn ang="0">
                  <a:pos x="30" y="29"/>
                </a:cxn>
              </a:cxnLst>
              <a:rect l="0" t="0" r="r" b="b"/>
              <a:pathLst>
                <a:path w="75" h="283">
                  <a:moveTo>
                    <a:pt x="30" y="29"/>
                  </a:moveTo>
                  <a:cubicBezTo>
                    <a:pt x="27" y="28"/>
                    <a:pt x="27" y="28"/>
                    <a:pt x="27" y="2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8" y="57"/>
                    <a:pt x="29" y="97"/>
                    <a:pt x="29" y="139"/>
                  </a:cubicBezTo>
                  <a:cubicBezTo>
                    <a:pt x="29" y="180"/>
                    <a:pt x="19" y="219"/>
                    <a:pt x="0" y="254"/>
                  </a:cubicBezTo>
                  <a:cubicBezTo>
                    <a:pt x="10" y="283"/>
                    <a:pt x="10" y="283"/>
                    <a:pt x="10" y="283"/>
                  </a:cubicBezTo>
                  <a:cubicBezTo>
                    <a:pt x="40" y="277"/>
                    <a:pt x="40" y="277"/>
                    <a:pt x="40" y="277"/>
                  </a:cubicBezTo>
                  <a:cubicBezTo>
                    <a:pt x="62" y="236"/>
                    <a:pt x="75" y="189"/>
                    <a:pt x="75" y="139"/>
                  </a:cubicBezTo>
                  <a:cubicBezTo>
                    <a:pt x="75" y="88"/>
                    <a:pt x="62" y="41"/>
                    <a:pt x="40" y="0"/>
                  </a:cubicBezTo>
                  <a:cubicBezTo>
                    <a:pt x="31" y="26"/>
                    <a:pt x="31" y="26"/>
                    <a:pt x="31" y="26"/>
                  </a:cubicBezTo>
                  <a:lnTo>
                    <a:pt x="30" y="29"/>
                  </a:lnTo>
                  <a:close/>
                </a:path>
              </a:pathLst>
            </a:custGeom>
            <a:solidFill>
              <a:srgbClr val="969696"/>
            </a:solidFill>
            <a:ln w="317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6" name="Freeform 84"/>
            <p:cNvSpPr>
              <a:spLocks/>
            </p:cNvSpPr>
            <p:nvPr/>
          </p:nvSpPr>
          <p:spPr bwMode="gray">
            <a:xfrm>
              <a:off x="1546" y="3487"/>
              <a:ext cx="1126" cy="704"/>
            </a:xfrm>
            <a:custGeom>
              <a:avLst/>
              <a:gdLst/>
              <a:ahLst/>
              <a:cxnLst>
                <a:cxn ang="0">
                  <a:pos x="231" y="29"/>
                </a:cxn>
                <a:cxn ang="0">
                  <a:pos x="230" y="27"/>
                </a:cxn>
                <a:cxn ang="0">
                  <a:pos x="221" y="0"/>
                </a:cxn>
                <a:cxn ang="0">
                  <a:pos x="20" y="116"/>
                </a:cxn>
                <a:cxn ang="0">
                  <a:pos x="0" y="140"/>
                </a:cxn>
                <a:cxn ang="0">
                  <a:pos x="20" y="162"/>
                </a:cxn>
                <a:cxn ang="0">
                  <a:pos x="260" y="23"/>
                </a:cxn>
                <a:cxn ang="0">
                  <a:pos x="233" y="29"/>
                </a:cxn>
                <a:cxn ang="0">
                  <a:pos x="231" y="29"/>
                </a:cxn>
              </a:cxnLst>
              <a:rect l="0" t="0" r="r" b="b"/>
              <a:pathLst>
                <a:path w="260" h="162">
                  <a:moveTo>
                    <a:pt x="231" y="29"/>
                  </a:moveTo>
                  <a:cubicBezTo>
                    <a:pt x="230" y="27"/>
                    <a:pt x="230" y="27"/>
                    <a:pt x="230" y="27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179" y="68"/>
                    <a:pt x="105" y="113"/>
                    <a:pt x="20" y="11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122" y="159"/>
                    <a:pt x="210" y="105"/>
                    <a:pt x="260" y="23"/>
                  </a:cubicBezTo>
                  <a:cubicBezTo>
                    <a:pt x="233" y="29"/>
                    <a:pt x="233" y="29"/>
                    <a:pt x="233" y="29"/>
                  </a:cubicBezTo>
                  <a:lnTo>
                    <a:pt x="231" y="29"/>
                  </a:lnTo>
                  <a:close/>
                </a:path>
              </a:pathLst>
            </a:custGeom>
            <a:solidFill>
              <a:srgbClr val="969696"/>
            </a:solidFill>
            <a:ln w="3175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969696">
                  <a:alpha val="50000"/>
                </a:srgb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7" name="WordArt 85"/>
            <p:cNvSpPr>
              <a:spLocks noChangeArrowheads="1" noChangeShapeType="1" noTextEdit="1"/>
            </p:cNvSpPr>
            <p:nvPr/>
          </p:nvSpPr>
          <p:spPr bwMode="gray">
            <a:xfrm rot="-1800000">
              <a:off x="659" y="1888"/>
              <a:ext cx="952" cy="39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202276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Compliance</a:t>
              </a:r>
            </a:p>
          </p:txBody>
        </p:sp>
        <p:sp>
          <p:nvSpPr>
            <p:cNvPr id="68" name="WordArt 86"/>
            <p:cNvSpPr>
              <a:spLocks noChangeArrowheads="1" noChangeShapeType="1" noTextEdit="1"/>
            </p:cNvSpPr>
            <p:nvPr/>
          </p:nvSpPr>
          <p:spPr bwMode="gray">
            <a:xfrm rot="1800000">
              <a:off x="1600" y="1900"/>
              <a:ext cx="952" cy="39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202276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Credit Risk</a:t>
              </a:r>
            </a:p>
          </p:txBody>
        </p:sp>
        <p:sp>
          <p:nvSpPr>
            <p:cNvPr id="69" name="WordArt 88"/>
            <p:cNvSpPr>
              <a:spLocks noChangeArrowheads="1" noChangeShapeType="1" noTextEdit="1"/>
            </p:cNvSpPr>
            <p:nvPr>
              <p:custDataLst>
                <p:tags r:id="rId1"/>
              </p:custDataLst>
            </p:nvPr>
          </p:nvSpPr>
          <p:spPr bwMode="gray">
            <a:xfrm rot="5400000" flipH="1" flipV="1">
              <a:off x="169" y="2692"/>
              <a:ext cx="952" cy="39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202276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Operational Risk</a:t>
              </a:r>
            </a:p>
          </p:txBody>
        </p:sp>
        <p:sp>
          <p:nvSpPr>
            <p:cNvPr id="70" name="WordArt 89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gray">
            <a:xfrm rot="-9008141" flipH="1" flipV="1">
              <a:off x="657" y="3638"/>
              <a:ext cx="927" cy="343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1250693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Pricing &amp; Valuation</a:t>
              </a:r>
            </a:p>
          </p:txBody>
        </p:sp>
        <p:sp>
          <p:nvSpPr>
            <p:cNvPr id="71" name="WordArt 90"/>
            <p:cNvSpPr>
              <a:spLocks noChangeArrowheads="1" noChangeShapeType="1" noTextEdit="1"/>
            </p:cNvSpPr>
            <p:nvPr/>
          </p:nvSpPr>
          <p:spPr bwMode="gray">
            <a:xfrm rot="5400000">
              <a:off x="2078" y="2734"/>
              <a:ext cx="952" cy="39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2202276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Market Risk</a:t>
              </a:r>
            </a:p>
          </p:txBody>
        </p:sp>
        <p:sp>
          <p:nvSpPr>
            <p:cNvPr id="72" name="WordArt 104"/>
            <p:cNvSpPr>
              <a:spLocks noChangeArrowheads="1" noChangeShapeType="1" noTextEdit="1"/>
            </p:cNvSpPr>
            <p:nvPr/>
          </p:nvSpPr>
          <p:spPr bwMode="gray">
            <a:xfrm rot="8779825" flipH="1" flipV="1">
              <a:off x="1673" y="3598"/>
              <a:ext cx="927" cy="343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1250693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bg1"/>
                  </a:solidFill>
                  <a:latin typeface="Arial Black"/>
                </a:rPr>
                <a:t>     LIMITS   </a:t>
              </a:r>
            </a:p>
          </p:txBody>
        </p:sp>
        <p:grpSp>
          <p:nvGrpSpPr>
            <p:cNvPr id="73" name="Group 122"/>
            <p:cNvGrpSpPr>
              <a:grpSpLocks/>
            </p:cNvGrpSpPr>
            <p:nvPr/>
          </p:nvGrpSpPr>
          <p:grpSpPr bwMode="auto">
            <a:xfrm>
              <a:off x="576" y="1927"/>
              <a:ext cx="2037" cy="1990"/>
              <a:chOff x="3010" y="892"/>
              <a:chExt cx="1471" cy="1470"/>
            </a:xfrm>
          </p:grpSpPr>
          <p:sp>
            <p:nvSpPr>
              <p:cNvPr id="82" name="Freeform 119"/>
              <p:cNvSpPr>
                <a:spLocks/>
              </p:cNvSpPr>
              <p:nvPr/>
            </p:nvSpPr>
            <p:spPr bwMode="gray">
              <a:xfrm>
                <a:off x="3010" y="892"/>
                <a:ext cx="928" cy="1077"/>
              </a:xfrm>
              <a:custGeom>
                <a:avLst/>
                <a:gdLst/>
                <a:ahLst/>
                <a:cxnLst>
                  <a:cxn ang="0">
                    <a:pos x="68" y="227"/>
                  </a:cxn>
                  <a:cxn ang="0">
                    <a:pos x="173" y="256"/>
                  </a:cxn>
                  <a:cxn ang="0">
                    <a:pos x="224" y="227"/>
                  </a:cxn>
                  <a:cxn ang="0">
                    <a:pos x="224" y="105"/>
                  </a:cxn>
                  <a:cxn ang="0">
                    <a:pos x="242" y="105"/>
                  </a:cxn>
                  <a:cxn ang="0">
                    <a:pos x="242" y="105"/>
                  </a:cxn>
                  <a:cxn ang="0">
                    <a:pos x="242" y="142"/>
                  </a:cxn>
                  <a:cxn ang="0">
                    <a:pos x="293" y="91"/>
                  </a:cxn>
                  <a:cxn ang="0">
                    <a:pos x="242" y="39"/>
                  </a:cxn>
                  <a:cxn ang="0">
                    <a:pos x="242" y="76"/>
                  </a:cxn>
                  <a:cxn ang="0">
                    <a:pos x="242" y="76"/>
                  </a:cxn>
                  <a:cxn ang="0">
                    <a:pos x="224" y="76"/>
                  </a:cxn>
                  <a:cxn ang="0">
                    <a:pos x="224" y="0"/>
                  </a:cxn>
                  <a:cxn ang="0">
                    <a:pos x="0" y="232"/>
                  </a:cxn>
                  <a:cxn ang="0">
                    <a:pos x="27" y="340"/>
                  </a:cxn>
                  <a:cxn ang="0">
                    <a:pos x="39" y="333"/>
                  </a:cxn>
                  <a:cxn ang="0">
                    <a:pos x="68" y="227"/>
                  </a:cxn>
                </a:cxnLst>
                <a:rect l="0" t="0" r="r" b="b"/>
                <a:pathLst>
                  <a:path w="293" h="340">
                    <a:moveTo>
                      <a:pt x="68" y="227"/>
                    </a:moveTo>
                    <a:cubicBezTo>
                      <a:pt x="173" y="256"/>
                      <a:pt x="173" y="256"/>
                      <a:pt x="173" y="256"/>
                    </a:cubicBezTo>
                    <a:cubicBezTo>
                      <a:pt x="224" y="227"/>
                      <a:pt x="224" y="227"/>
                      <a:pt x="224" y="227"/>
                    </a:cubicBezTo>
                    <a:cubicBezTo>
                      <a:pt x="224" y="105"/>
                      <a:pt x="224" y="105"/>
                      <a:pt x="224" y="105"/>
                    </a:cubicBezTo>
                    <a:cubicBezTo>
                      <a:pt x="242" y="105"/>
                      <a:pt x="242" y="105"/>
                      <a:pt x="242" y="105"/>
                    </a:cubicBezTo>
                    <a:cubicBezTo>
                      <a:pt x="242" y="105"/>
                      <a:pt x="242" y="105"/>
                      <a:pt x="242" y="105"/>
                    </a:cubicBezTo>
                    <a:cubicBezTo>
                      <a:pt x="242" y="105"/>
                      <a:pt x="242" y="128"/>
                      <a:pt x="242" y="142"/>
                    </a:cubicBezTo>
                    <a:cubicBezTo>
                      <a:pt x="260" y="125"/>
                      <a:pt x="285" y="99"/>
                      <a:pt x="293" y="91"/>
                    </a:cubicBezTo>
                    <a:cubicBezTo>
                      <a:pt x="285" y="82"/>
                      <a:pt x="260" y="57"/>
                      <a:pt x="242" y="39"/>
                    </a:cubicBezTo>
                    <a:cubicBezTo>
                      <a:pt x="242" y="53"/>
                      <a:pt x="242" y="76"/>
                      <a:pt x="242" y="76"/>
                    </a:cubicBezTo>
                    <a:cubicBezTo>
                      <a:pt x="242" y="76"/>
                      <a:pt x="242" y="76"/>
                      <a:pt x="242" y="76"/>
                    </a:cubicBezTo>
                    <a:cubicBezTo>
                      <a:pt x="224" y="76"/>
                      <a:pt x="224" y="76"/>
                      <a:pt x="224" y="76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100" y="4"/>
                      <a:pt x="0" y="106"/>
                      <a:pt x="0" y="232"/>
                    </a:cubicBezTo>
                    <a:cubicBezTo>
                      <a:pt x="0" y="271"/>
                      <a:pt x="10" y="308"/>
                      <a:pt x="27" y="340"/>
                    </a:cubicBezTo>
                    <a:cubicBezTo>
                      <a:pt x="39" y="333"/>
                      <a:pt x="39" y="333"/>
                      <a:pt x="39" y="333"/>
                    </a:cubicBezTo>
                    <a:lnTo>
                      <a:pt x="68" y="227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83" name="Freeform 120"/>
              <p:cNvSpPr>
                <a:spLocks/>
              </p:cNvSpPr>
              <p:nvPr/>
            </p:nvSpPr>
            <p:spPr bwMode="gray">
              <a:xfrm>
                <a:off x="3125" y="1658"/>
                <a:ext cx="1245" cy="704"/>
              </a:xfrm>
              <a:custGeom>
                <a:avLst/>
                <a:gdLst/>
                <a:ahLst/>
                <a:cxnLst>
                  <a:cxn ang="0">
                    <a:pos x="276" y="135"/>
                  </a:cxn>
                  <a:cxn ang="0">
                    <a:pos x="248" y="29"/>
                  </a:cxn>
                  <a:cxn ang="0">
                    <a:pos x="197" y="0"/>
                  </a:cxn>
                  <a:cxn ang="0">
                    <a:pos x="92" y="61"/>
                  </a:cxn>
                  <a:cxn ang="0">
                    <a:pos x="83" y="45"/>
                  </a:cxn>
                  <a:cxn ang="0">
                    <a:pos x="83" y="45"/>
                  </a:cxn>
                  <a:cxn ang="0">
                    <a:pos x="115" y="27"/>
                  </a:cxn>
                  <a:cxn ang="0">
                    <a:pos x="45" y="8"/>
                  </a:cxn>
                  <a:cxn ang="0">
                    <a:pos x="26" y="78"/>
                  </a:cxn>
                  <a:cxn ang="0">
                    <a:pos x="58" y="59"/>
                  </a:cxn>
                  <a:cxn ang="0">
                    <a:pos x="58" y="59"/>
                  </a:cxn>
                  <a:cxn ang="0">
                    <a:pos x="67" y="75"/>
                  </a:cxn>
                  <a:cxn ang="0">
                    <a:pos x="0" y="114"/>
                  </a:cxn>
                  <a:cxn ang="0">
                    <a:pos x="197" y="222"/>
                  </a:cxn>
                  <a:cxn ang="0">
                    <a:pos x="394" y="114"/>
                  </a:cxn>
                  <a:cxn ang="0">
                    <a:pos x="382" y="107"/>
                  </a:cxn>
                  <a:cxn ang="0">
                    <a:pos x="276" y="135"/>
                  </a:cxn>
                </a:cxnLst>
                <a:rect l="0" t="0" r="r" b="b"/>
                <a:pathLst>
                  <a:path w="394" h="222">
                    <a:moveTo>
                      <a:pt x="276" y="135"/>
                    </a:moveTo>
                    <a:cubicBezTo>
                      <a:pt x="248" y="29"/>
                      <a:pt x="248" y="29"/>
                      <a:pt x="248" y="29"/>
                    </a:cubicBezTo>
                    <a:cubicBezTo>
                      <a:pt x="197" y="0"/>
                      <a:pt x="197" y="0"/>
                      <a:pt x="197" y="0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83" y="45"/>
                      <a:pt x="103" y="33"/>
                      <a:pt x="115" y="27"/>
                    </a:cubicBezTo>
                    <a:cubicBezTo>
                      <a:pt x="91" y="20"/>
                      <a:pt x="56" y="11"/>
                      <a:pt x="45" y="8"/>
                    </a:cubicBezTo>
                    <a:cubicBezTo>
                      <a:pt x="42" y="19"/>
                      <a:pt x="32" y="54"/>
                      <a:pt x="26" y="78"/>
                    </a:cubicBezTo>
                    <a:cubicBezTo>
                      <a:pt x="38" y="71"/>
                      <a:pt x="58" y="59"/>
                      <a:pt x="58" y="59"/>
                    </a:cubicBezTo>
                    <a:cubicBezTo>
                      <a:pt x="58" y="59"/>
                      <a:pt x="58" y="59"/>
                      <a:pt x="58" y="59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42" y="179"/>
                      <a:pt x="114" y="222"/>
                      <a:pt x="197" y="222"/>
                    </a:cubicBezTo>
                    <a:cubicBezTo>
                      <a:pt x="280" y="222"/>
                      <a:pt x="352" y="179"/>
                      <a:pt x="394" y="114"/>
                    </a:cubicBezTo>
                    <a:cubicBezTo>
                      <a:pt x="382" y="107"/>
                      <a:pt x="382" y="107"/>
                      <a:pt x="382" y="107"/>
                    </a:cubicBezTo>
                    <a:lnTo>
                      <a:pt x="276" y="135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84" name="Freeform 121"/>
              <p:cNvSpPr>
                <a:spLocks/>
              </p:cNvSpPr>
              <p:nvPr/>
            </p:nvSpPr>
            <p:spPr bwMode="gray">
              <a:xfrm>
                <a:off x="3776" y="892"/>
                <a:ext cx="705" cy="11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3"/>
                  </a:cxn>
                  <a:cxn ang="0">
                    <a:pos x="77" y="91"/>
                  </a:cxn>
                  <a:cxn ang="0">
                    <a:pos x="0" y="168"/>
                  </a:cxn>
                  <a:cxn ang="0">
                    <a:pos x="0" y="226"/>
                  </a:cxn>
                  <a:cxn ang="0">
                    <a:pos x="106" y="287"/>
                  </a:cxn>
                  <a:cxn ang="0">
                    <a:pos x="96" y="303"/>
                  </a:cxn>
                  <a:cxn ang="0">
                    <a:pos x="96" y="303"/>
                  </a:cxn>
                  <a:cxn ang="0">
                    <a:pos x="64" y="285"/>
                  </a:cxn>
                  <a:cxn ang="0">
                    <a:pos x="83" y="354"/>
                  </a:cxn>
                  <a:cxn ang="0">
                    <a:pos x="153" y="336"/>
                  </a:cxn>
                  <a:cxn ang="0">
                    <a:pos x="121" y="317"/>
                  </a:cxn>
                  <a:cxn ang="0">
                    <a:pos x="121" y="317"/>
                  </a:cxn>
                  <a:cxn ang="0">
                    <a:pos x="130" y="301"/>
                  </a:cxn>
                  <a:cxn ang="0">
                    <a:pos x="197" y="340"/>
                  </a:cxn>
                  <a:cxn ang="0">
                    <a:pos x="223" y="232"/>
                  </a:cxn>
                  <a:cxn ang="0">
                    <a:pos x="0" y="0"/>
                  </a:cxn>
                </a:cxnLst>
                <a:rect l="0" t="0" r="r" b="b"/>
                <a:pathLst>
                  <a:path w="223" h="354">
                    <a:moveTo>
                      <a:pt x="0" y="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77" y="91"/>
                      <a:pt x="77" y="91"/>
                      <a:pt x="77" y="91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226"/>
                      <a:pt x="0" y="226"/>
                      <a:pt x="0" y="226"/>
                    </a:cubicBezTo>
                    <a:cubicBezTo>
                      <a:pt x="106" y="287"/>
                      <a:pt x="106" y="287"/>
                      <a:pt x="106" y="287"/>
                    </a:cubicBezTo>
                    <a:cubicBezTo>
                      <a:pt x="96" y="303"/>
                      <a:pt x="96" y="303"/>
                      <a:pt x="96" y="303"/>
                    </a:cubicBezTo>
                    <a:cubicBezTo>
                      <a:pt x="96" y="303"/>
                      <a:pt x="96" y="303"/>
                      <a:pt x="96" y="303"/>
                    </a:cubicBezTo>
                    <a:cubicBezTo>
                      <a:pt x="96" y="303"/>
                      <a:pt x="76" y="291"/>
                      <a:pt x="64" y="285"/>
                    </a:cubicBezTo>
                    <a:cubicBezTo>
                      <a:pt x="71" y="308"/>
                      <a:pt x="80" y="343"/>
                      <a:pt x="83" y="354"/>
                    </a:cubicBezTo>
                    <a:cubicBezTo>
                      <a:pt x="94" y="351"/>
                      <a:pt x="130" y="342"/>
                      <a:pt x="153" y="336"/>
                    </a:cubicBezTo>
                    <a:cubicBezTo>
                      <a:pt x="141" y="329"/>
                      <a:pt x="121" y="317"/>
                      <a:pt x="121" y="317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30" y="301"/>
                      <a:pt x="130" y="301"/>
                      <a:pt x="130" y="301"/>
                    </a:cubicBezTo>
                    <a:cubicBezTo>
                      <a:pt x="197" y="340"/>
                      <a:pt x="197" y="340"/>
                      <a:pt x="197" y="340"/>
                    </a:cubicBezTo>
                    <a:cubicBezTo>
                      <a:pt x="214" y="307"/>
                      <a:pt x="223" y="271"/>
                      <a:pt x="223" y="232"/>
                    </a:cubicBezTo>
                    <a:cubicBezTo>
                      <a:pt x="223" y="106"/>
                      <a:pt x="124" y="5"/>
                      <a:pt x="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>
                <a:outerShdw dist="35921" dir="2700000" algn="ctr" rotWithShape="0">
                  <a:srgbClr val="808080"/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</p:grpSp>
        <p:sp>
          <p:nvSpPr>
            <p:cNvPr id="74" name="WordArt 110"/>
            <p:cNvSpPr>
              <a:spLocks noChangeArrowheads="1" noChangeShapeType="1" noTextEdit="1"/>
            </p:cNvSpPr>
            <p:nvPr/>
          </p:nvSpPr>
          <p:spPr bwMode="gray">
            <a:xfrm rot="-2323736">
              <a:off x="584" y="2409"/>
              <a:ext cx="959" cy="257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dist="35921" dir="2700000" algn="ctr" rotWithShape="0">
                      <a:srgbClr val="000000"/>
                    </a:outerShdw>
                  </a:effectLst>
                  <a:latin typeface="Arial Black"/>
                </a:rPr>
                <a:t>Whole Balance Sheet</a:t>
              </a:r>
            </a:p>
          </p:txBody>
        </p:sp>
        <p:grpSp>
          <p:nvGrpSpPr>
            <p:cNvPr id="75" name="Group 123"/>
            <p:cNvGrpSpPr>
              <a:grpSpLocks/>
            </p:cNvGrpSpPr>
            <p:nvPr/>
          </p:nvGrpSpPr>
          <p:grpSpPr bwMode="auto">
            <a:xfrm>
              <a:off x="1220" y="2561"/>
              <a:ext cx="754" cy="753"/>
              <a:chOff x="1220" y="2561"/>
              <a:chExt cx="754" cy="753"/>
            </a:xfrm>
          </p:grpSpPr>
          <p:sp>
            <p:nvSpPr>
              <p:cNvPr id="78" name="Oval 93"/>
              <p:cNvSpPr>
                <a:spLocks noChangeArrowheads="1"/>
              </p:cNvSpPr>
              <p:nvPr/>
            </p:nvSpPr>
            <p:spPr bwMode="gray">
              <a:xfrm>
                <a:off x="1364" y="2692"/>
                <a:ext cx="472" cy="472"/>
              </a:xfrm>
              <a:prstGeom prst="ellipse">
                <a:avLst/>
              </a:prstGeom>
              <a:gradFill rotWithShape="1">
                <a:gsLst>
                  <a:gs pos="0">
                    <a:srgbClr val="C0C0C0">
                      <a:gamma/>
                      <a:tint val="26275"/>
                      <a:invGamma/>
                    </a:srgbClr>
                  </a:gs>
                  <a:gs pos="100000">
                    <a:srgbClr val="C0C0C0"/>
                  </a:gs>
                </a:gsLst>
                <a:lin ang="5400000" scaled="1"/>
              </a:gradFill>
              <a:ln w="3175">
                <a:solidFill>
                  <a:schemeClr val="bg1"/>
                </a:solidFill>
                <a:round/>
                <a:headEnd/>
                <a:tailEnd/>
              </a:ln>
              <a:effectLst>
                <a:outerShdw dist="45791" dir="2021404" algn="ctr" rotWithShape="0">
                  <a:srgbClr val="969696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79" name="AutoShape 94"/>
              <p:cNvSpPr>
                <a:spLocks noChangeAspect="1" noChangeArrowheads="1" noTextEdit="1"/>
              </p:cNvSpPr>
              <p:nvPr/>
            </p:nvSpPr>
            <p:spPr bwMode="gray">
              <a:xfrm>
                <a:off x="1220" y="2561"/>
                <a:ext cx="754" cy="7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Oval 95"/>
              <p:cNvSpPr>
                <a:spLocks noChangeArrowheads="1"/>
              </p:cNvSpPr>
              <p:nvPr/>
            </p:nvSpPr>
            <p:spPr bwMode="gray">
              <a:xfrm>
                <a:off x="1222" y="2562"/>
                <a:ext cx="750" cy="751"/>
              </a:xfrm>
              <a:prstGeom prst="ellipse">
                <a:avLst/>
              </a:prstGeom>
              <a:gradFill rotWithShape="1">
                <a:gsLst>
                  <a:gs pos="0">
                    <a:schemeClr val="bg1"/>
                  </a:gs>
                  <a:gs pos="100000">
                    <a:schemeClr val="folHlink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rgbClr val="808080">
                    <a:alpha val="50000"/>
                  </a:srgbClr>
                </a:outerShdw>
              </a:effec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81" name="Freeform 96"/>
              <p:cNvSpPr>
                <a:spLocks noEditPoints="1"/>
              </p:cNvSpPr>
              <p:nvPr/>
            </p:nvSpPr>
            <p:spPr bwMode="gray">
              <a:xfrm>
                <a:off x="1223" y="2561"/>
                <a:ext cx="749" cy="718"/>
              </a:xfrm>
              <a:custGeom>
                <a:avLst/>
                <a:gdLst>
                  <a:gd name="T0" fmla="*/ 0 w 2916"/>
                  <a:gd name="T1" fmla="*/ 0 h 2793"/>
                  <a:gd name="T2" fmla="*/ 0 w 2916"/>
                  <a:gd name="T3" fmla="*/ 0 h 2793"/>
                  <a:gd name="T4" fmla="*/ 0 w 2916"/>
                  <a:gd name="T5" fmla="*/ 0 h 2793"/>
                  <a:gd name="T6" fmla="*/ 0 w 2916"/>
                  <a:gd name="T7" fmla="*/ 0 h 2793"/>
                  <a:gd name="T8" fmla="*/ 0 w 2916"/>
                  <a:gd name="T9" fmla="*/ 0 h 2793"/>
                  <a:gd name="T10" fmla="*/ 0 w 2916"/>
                  <a:gd name="T11" fmla="*/ 0 h 2793"/>
                  <a:gd name="T12" fmla="*/ 0 w 2916"/>
                  <a:gd name="T13" fmla="*/ 0 h 2793"/>
                  <a:gd name="T14" fmla="*/ 0 w 2916"/>
                  <a:gd name="T15" fmla="*/ 0 h 2793"/>
                  <a:gd name="T16" fmla="*/ 0 w 2916"/>
                  <a:gd name="T17" fmla="*/ 0 h 2793"/>
                  <a:gd name="T18" fmla="*/ 0 w 2916"/>
                  <a:gd name="T19" fmla="*/ 0 h 2793"/>
                  <a:gd name="T20" fmla="*/ 0 w 2916"/>
                  <a:gd name="T21" fmla="*/ 0 h 2793"/>
                  <a:gd name="T22" fmla="*/ 0 w 2916"/>
                  <a:gd name="T23" fmla="*/ 0 h 2793"/>
                  <a:gd name="T24" fmla="*/ 0 w 2916"/>
                  <a:gd name="T25" fmla="*/ 0 h 2793"/>
                  <a:gd name="T26" fmla="*/ 0 w 2916"/>
                  <a:gd name="T27" fmla="*/ 0 h 2793"/>
                  <a:gd name="T28" fmla="*/ 0 w 2916"/>
                  <a:gd name="T29" fmla="*/ 0 h 2793"/>
                  <a:gd name="T30" fmla="*/ 0 w 2916"/>
                  <a:gd name="T31" fmla="*/ 0 h 2793"/>
                  <a:gd name="T32" fmla="*/ 0 w 2916"/>
                  <a:gd name="T33" fmla="*/ 0 h 2793"/>
                  <a:gd name="T34" fmla="*/ 0 w 2916"/>
                  <a:gd name="T35" fmla="*/ 0 h 2793"/>
                  <a:gd name="T36" fmla="*/ 0 w 2916"/>
                  <a:gd name="T37" fmla="*/ 0 h 2793"/>
                  <a:gd name="T38" fmla="*/ 0 w 2916"/>
                  <a:gd name="T39" fmla="*/ 0 h 2793"/>
                  <a:gd name="T40" fmla="*/ 0 w 2916"/>
                  <a:gd name="T41" fmla="*/ 0 h 2793"/>
                  <a:gd name="T42" fmla="*/ 0 w 2916"/>
                  <a:gd name="T43" fmla="*/ 0 h 2793"/>
                  <a:gd name="T44" fmla="*/ 0 w 2916"/>
                  <a:gd name="T45" fmla="*/ 0 h 2793"/>
                  <a:gd name="T46" fmla="*/ 0 w 2916"/>
                  <a:gd name="T47" fmla="*/ 0 h 2793"/>
                  <a:gd name="T48" fmla="*/ 0 w 2916"/>
                  <a:gd name="T49" fmla="*/ 0 h 2793"/>
                  <a:gd name="T50" fmla="*/ 0 w 2916"/>
                  <a:gd name="T51" fmla="*/ 0 h 2793"/>
                  <a:gd name="T52" fmla="*/ 0 w 2916"/>
                  <a:gd name="T53" fmla="*/ 0 h 2793"/>
                  <a:gd name="T54" fmla="*/ 0 w 2916"/>
                  <a:gd name="T55" fmla="*/ 0 h 2793"/>
                  <a:gd name="T56" fmla="*/ 0 w 2916"/>
                  <a:gd name="T57" fmla="*/ 0 h 2793"/>
                  <a:gd name="T58" fmla="*/ 0 w 2916"/>
                  <a:gd name="T59" fmla="*/ 0 h 2793"/>
                  <a:gd name="T60" fmla="*/ 0 w 2916"/>
                  <a:gd name="T61" fmla="*/ 0 h 2793"/>
                  <a:gd name="T62" fmla="*/ 0 w 2916"/>
                  <a:gd name="T63" fmla="*/ 0 h 2793"/>
                  <a:gd name="T64" fmla="*/ 0 w 2916"/>
                  <a:gd name="T65" fmla="*/ 0 h 2793"/>
                  <a:gd name="T66" fmla="*/ 0 w 2916"/>
                  <a:gd name="T67" fmla="*/ 0 h 2793"/>
                  <a:gd name="T68" fmla="*/ 0 w 2916"/>
                  <a:gd name="T69" fmla="*/ 0 h 2793"/>
                  <a:gd name="T70" fmla="*/ 0 w 2916"/>
                  <a:gd name="T71" fmla="*/ 0 h 2793"/>
                  <a:gd name="T72" fmla="*/ 0 w 2916"/>
                  <a:gd name="T73" fmla="*/ 0 h 2793"/>
                  <a:gd name="T74" fmla="*/ 0 w 2916"/>
                  <a:gd name="T75" fmla="*/ 0 h 2793"/>
                  <a:gd name="T76" fmla="*/ 0 w 2916"/>
                  <a:gd name="T77" fmla="*/ 0 h 2793"/>
                  <a:gd name="T78" fmla="*/ 0 w 2916"/>
                  <a:gd name="T79" fmla="*/ 0 h 2793"/>
                  <a:gd name="T80" fmla="*/ 0 w 2916"/>
                  <a:gd name="T81" fmla="*/ 0 h 2793"/>
                  <a:gd name="T82" fmla="*/ 0 w 2916"/>
                  <a:gd name="T83" fmla="*/ 0 h 2793"/>
                  <a:gd name="T84" fmla="*/ 0 w 2916"/>
                  <a:gd name="T85" fmla="*/ 0 h 2793"/>
                  <a:gd name="T86" fmla="*/ 0 w 2916"/>
                  <a:gd name="T87" fmla="*/ 0 h 2793"/>
                  <a:gd name="T88" fmla="*/ 0 w 2916"/>
                  <a:gd name="T89" fmla="*/ 0 h 2793"/>
                  <a:gd name="T90" fmla="*/ 0 w 2916"/>
                  <a:gd name="T91" fmla="*/ 0 h 2793"/>
                  <a:gd name="T92" fmla="*/ 0 w 2916"/>
                  <a:gd name="T93" fmla="*/ 0 h 2793"/>
                  <a:gd name="T94" fmla="*/ 0 w 2916"/>
                  <a:gd name="T95" fmla="*/ 0 h 2793"/>
                  <a:gd name="T96" fmla="*/ 0 w 2916"/>
                  <a:gd name="T97" fmla="*/ 0 h 2793"/>
                  <a:gd name="T98" fmla="*/ 0 w 2916"/>
                  <a:gd name="T99" fmla="*/ 0 h 2793"/>
                  <a:gd name="T100" fmla="*/ 0 w 2916"/>
                  <a:gd name="T101" fmla="*/ 0 h 2793"/>
                  <a:gd name="T102" fmla="*/ 0 w 2916"/>
                  <a:gd name="T103" fmla="*/ 0 h 2793"/>
                  <a:gd name="T104" fmla="*/ 0 w 2916"/>
                  <a:gd name="T105" fmla="*/ 0 h 2793"/>
                  <a:gd name="T106" fmla="*/ 0 w 2916"/>
                  <a:gd name="T107" fmla="*/ 0 h 2793"/>
                  <a:gd name="T108" fmla="*/ 0 w 2916"/>
                  <a:gd name="T109" fmla="*/ 0 h 279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916"/>
                  <a:gd name="T166" fmla="*/ 0 h 2793"/>
                  <a:gd name="T167" fmla="*/ 2916 w 2916"/>
                  <a:gd name="T168" fmla="*/ 2793 h 279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916" h="2793">
                    <a:moveTo>
                      <a:pt x="520" y="2480"/>
                    </a:moveTo>
                    <a:cubicBezTo>
                      <a:pt x="505" y="2436"/>
                      <a:pt x="479" y="2397"/>
                      <a:pt x="477" y="2350"/>
                    </a:cubicBezTo>
                    <a:cubicBezTo>
                      <a:pt x="476" y="2343"/>
                      <a:pt x="465" y="2349"/>
                      <a:pt x="464" y="2336"/>
                    </a:cubicBezTo>
                    <a:cubicBezTo>
                      <a:pt x="463" y="2325"/>
                      <a:pt x="459" y="2310"/>
                      <a:pt x="461" y="2298"/>
                    </a:cubicBezTo>
                    <a:cubicBezTo>
                      <a:pt x="467" y="2270"/>
                      <a:pt x="473" y="2242"/>
                      <a:pt x="479" y="2214"/>
                    </a:cubicBezTo>
                    <a:cubicBezTo>
                      <a:pt x="493" y="2153"/>
                      <a:pt x="430" y="2151"/>
                      <a:pt x="397" y="2118"/>
                    </a:cubicBezTo>
                    <a:cubicBezTo>
                      <a:pt x="377" y="2098"/>
                      <a:pt x="368" y="2077"/>
                      <a:pt x="339" y="2080"/>
                    </a:cubicBezTo>
                    <a:cubicBezTo>
                      <a:pt x="311" y="2083"/>
                      <a:pt x="299" y="2063"/>
                      <a:pt x="278" y="2045"/>
                    </a:cubicBezTo>
                    <a:cubicBezTo>
                      <a:pt x="263" y="2032"/>
                      <a:pt x="252" y="2016"/>
                      <a:pt x="236" y="2005"/>
                    </a:cubicBezTo>
                    <a:cubicBezTo>
                      <a:pt x="215" y="1992"/>
                      <a:pt x="178" y="1981"/>
                      <a:pt x="181" y="1954"/>
                    </a:cubicBezTo>
                    <a:cubicBezTo>
                      <a:pt x="183" y="1932"/>
                      <a:pt x="168" y="1904"/>
                      <a:pt x="162" y="1883"/>
                    </a:cubicBezTo>
                    <a:cubicBezTo>
                      <a:pt x="154" y="1856"/>
                      <a:pt x="132" y="1863"/>
                      <a:pt x="137" y="1832"/>
                    </a:cubicBezTo>
                    <a:cubicBezTo>
                      <a:pt x="137" y="1831"/>
                      <a:pt x="102" y="1801"/>
                      <a:pt x="96" y="1792"/>
                    </a:cubicBezTo>
                    <a:cubicBezTo>
                      <a:pt x="82" y="1771"/>
                      <a:pt x="62" y="1750"/>
                      <a:pt x="52" y="1727"/>
                    </a:cubicBezTo>
                    <a:cubicBezTo>
                      <a:pt x="43" y="1705"/>
                      <a:pt x="44" y="1678"/>
                      <a:pt x="34" y="1655"/>
                    </a:cubicBezTo>
                    <a:cubicBezTo>
                      <a:pt x="26" y="1635"/>
                      <a:pt x="11" y="1615"/>
                      <a:pt x="0" y="1596"/>
                    </a:cubicBezTo>
                    <a:cubicBezTo>
                      <a:pt x="34" y="1978"/>
                      <a:pt x="222" y="2336"/>
                      <a:pt x="515" y="2582"/>
                    </a:cubicBezTo>
                    <a:cubicBezTo>
                      <a:pt x="513" y="2558"/>
                      <a:pt x="479" y="2531"/>
                      <a:pt x="464" y="2513"/>
                    </a:cubicBezTo>
                    <a:cubicBezTo>
                      <a:pt x="462" y="2511"/>
                      <a:pt x="473" y="2482"/>
                      <a:pt x="477" y="2480"/>
                    </a:cubicBezTo>
                    <a:cubicBezTo>
                      <a:pt x="484" y="2475"/>
                      <a:pt x="511" y="2480"/>
                      <a:pt x="520" y="2480"/>
                    </a:cubicBezTo>
                    <a:moveTo>
                      <a:pt x="983" y="294"/>
                    </a:moveTo>
                    <a:cubicBezTo>
                      <a:pt x="1044" y="279"/>
                      <a:pt x="1110" y="269"/>
                      <a:pt x="1169" y="250"/>
                    </a:cubicBezTo>
                    <a:cubicBezTo>
                      <a:pt x="1149" y="246"/>
                      <a:pt x="1111" y="255"/>
                      <a:pt x="1098" y="236"/>
                    </a:cubicBezTo>
                    <a:cubicBezTo>
                      <a:pt x="1132" y="201"/>
                      <a:pt x="1171" y="250"/>
                      <a:pt x="1205" y="247"/>
                    </a:cubicBezTo>
                    <a:cubicBezTo>
                      <a:pt x="1204" y="226"/>
                      <a:pt x="1181" y="216"/>
                      <a:pt x="1195" y="195"/>
                    </a:cubicBezTo>
                    <a:cubicBezTo>
                      <a:pt x="1211" y="202"/>
                      <a:pt x="1216" y="209"/>
                      <a:pt x="1231" y="198"/>
                    </a:cubicBezTo>
                    <a:cubicBezTo>
                      <a:pt x="1245" y="187"/>
                      <a:pt x="1256" y="187"/>
                      <a:pt x="1266" y="171"/>
                    </a:cubicBezTo>
                    <a:cubicBezTo>
                      <a:pt x="1274" y="158"/>
                      <a:pt x="1299" y="156"/>
                      <a:pt x="1313" y="151"/>
                    </a:cubicBezTo>
                    <a:cubicBezTo>
                      <a:pt x="1316" y="150"/>
                      <a:pt x="1318" y="123"/>
                      <a:pt x="1322" y="117"/>
                    </a:cubicBezTo>
                    <a:cubicBezTo>
                      <a:pt x="1332" y="98"/>
                      <a:pt x="1358" y="71"/>
                      <a:pt x="1383" y="69"/>
                    </a:cubicBezTo>
                    <a:cubicBezTo>
                      <a:pt x="1389" y="69"/>
                      <a:pt x="1437" y="72"/>
                      <a:pt x="1426" y="56"/>
                    </a:cubicBezTo>
                    <a:cubicBezTo>
                      <a:pt x="1421" y="50"/>
                      <a:pt x="1383" y="51"/>
                      <a:pt x="1375" y="50"/>
                    </a:cubicBezTo>
                    <a:cubicBezTo>
                      <a:pt x="1392" y="28"/>
                      <a:pt x="1400" y="30"/>
                      <a:pt x="1428" y="27"/>
                    </a:cubicBezTo>
                    <a:cubicBezTo>
                      <a:pt x="1460" y="24"/>
                      <a:pt x="1472" y="23"/>
                      <a:pt x="1499" y="4"/>
                    </a:cubicBezTo>
                    <a:cubicBezTo>
                      <a:pt x="1438" y="3"/>
                      <a:pt x="1374" y="0"/>
                      <a:pt x="1315" y="11"/>
                    </a:cubicBezTo>
                    <a:cubicBezTo>
                      <a:pt x="1289" y="16"/>
                      <a:pt x="1264" y="25"/>
                      <a:pt x="1238" y="30"/>
                    </a:cubicBezTo>
                    <a:cubicBezTo>
                      <a:pt x="1213" y="36"/>
                      <a:pt x="1169" y="51"/>
                      <a:pt x="1145" y="37"/>
                    </a:cubicBezTo>
                    <a:cubicBezTo>
                      <a:pt x="1073" y="52"/>
                      <a:pt x="1001" y="74"/>
                      <a:pt x="931" y="100"/>
                    </a:cubicBezTo>
                    <a:cubicBezTo>
                      <a:pt x="909" y="109"/>
                      <a:pt x="893" y="106"/>
                      <a:pt x="904" y="129"/>
                    </a:cubicBezTo>
                    <a:cubicBezTo>
                      <a:pt x="912" y="146"/>
                      <a:pt x="916" y="145"/>
                      <a:pt x="901" y="157"/>
                    </a:cubicBezTo>
                    <a:cubicBezTo>
                      <a:pt x="879" y="173"/>
                      <a:pt x="861" y="190"/>
                      <a:pt x="842" y="211"/>
                    </a:cubicBezTo>
                    <a:cubicBezTo>
                      <a:pt x="825" y="229"/>
                      <a:pt x="799" y="210"/>
                      <a:pt x="784" y="235"/>
                    </a:cubicBezTo>
                    <a:cubicBezTo>
                      <a:pt x="782" y="238"/>
                      <a:pt x="793" y="254"/>
                      <a:pt x="793" y="262"/>
                    </a:cubicBezTo>
                    <a:cubicBezTo>
                      <a:pt x="792" y="271"/>
                      <a:pt x="766" y="265"/>
                      <a:pt x="758" y="265"/>
                    </a:cubicBezTo>
                    <a:cubicBezTo>
                      <a:pt x="741" y="265"/>
                      <a:pt x="665" y="362"/>
                      <a:pt x="657" y="377"/>
                    </a:cubicBezTo>
                    <a:cubicBezTo>
                      <a:pt x="640" y="409"/>
                      <a:pt x="625" y="418"/>
                      <a:pt x="646" y="448"/>
                    </a:cubicBezTo>
                    <a:cubicBezTo>
                      <a:pt x="652" y="456"/>
                      <a:pt x="657" y="473"/>
                      <a:pt x="667" y="466"/>
                    </a:cubicBezTo>
                    <a:cubicBezTo>
                      <a:pt x="682" y="457"/>
                      <a:pt x="697" y="447"/>
                      <a:pt x="713" y="438"/>
                    </a:cubicBezTo>
                    <a:cubicBezTo>
                      <a:pt x="756" y="411"/>
                      <a:pt x="792" y="373"/>
                      <a:pt x="837" y="348"/>
                    </a:cubicBezTo>
                    <a:cubicBezTo>
                      <a:pt x="862" y="334"/>
                      <a:pt x="882" y="317"/>
                      <a:pt x="912" y="319"/>
                    </a:cubicBezTo>
                    <a:cubicBezTo>
                      <a:pt x="940" y="322"/>
                      <a:pt x="958" y="307"/>
                      <a:pt x="983" y="294"/>
                    </a:cubicBezTo>
                    <a:moveTo>
                      <a:pt x="663" y="301"/>
                    </a:moveTo>
                    <a:cubicBezTo>
                      <a:pt x="677" y="258"/>
                      <a:pt x="723" y="232"/>
                      <a:pt x="761" y="209"/>
                    </a:cubicBezTo>
                    <a:cubicBezTo>
                      <a:pt x="785" y="195"/>
                      <a:pt x="802" y="175"/>
                      <a:pt x="828" y="163"/>
                    </a:cubicBezTo>
                    <a:cubicBezTo>
                      <a:pt x="844" y="155"/>
                      <a:pt x="859" y="154"/>
                      <a:pt x="856" y="132"/>
                    </a:cubicBezTo>
                    <a:cubicBezTo>
                      <a:pt x="766" y="172"/>
                      <a:pt x="680" y="222"/>
                      <a:pt x="600" y="280"/>
                    </a:cubicBezTo>
                    <a:cubicBezTo>
                      <a:pt x="574" y="299"/>
                      <a:pt x="517" y="330"/>
                      <a:pt x="504" y="359"/>
                    </a:cubicBezTo>
                    <a:cubicBezTo>
                      <a:pt x="498" y="373"/>
                      <a:pt x="502" y="398"/>
                      <a:pt x="501" y="413"/>
                    </a:cubicBezTo>
                    <a:cubicBezTo>
                      <a:pt x="514" y="412"/>
                      <a:pt x="513" y="406"/>
                      <a:pt x="516" y="396"/>
                    </a:cubicBezTo>
                    <a:cubicBezTo>
                      <a:pt x="518" y="388"/>
                      <a:pt x="538" y="388"/>
                      <a:pt x="546" y="381"/>
                    </a:cubicBezTo>
                    <a:cubicBezTo>
                      <a:pt x="565" y="363"/>
                      <a:pt x="578" y="348"/>
                      <a:pt x="588" y="324"/>
                    </a:cubicBezTo>
                    <a:cubicBezTo>
                      <a:pt x="597" y="346"/>
                      <a:pt x="657" y="319"/>
                      <a:pt x="663" y="301"/>
                    </a:cubicBezTo>
                    <a:moveTo>
                      <a:pt x="155" y="846"/>
                    </a:moveTo>
                    <a:cubicBezTo>
                      <a:pt x="178" y="848"/>
                      <a:pt x="200" y="843"/>
                      <a:pt x="216" y="822"/>
                    </a:cubicBezTo>
                    <a:cubicBezTo>
                      <a:pt x="225" y="809"/>
                      <a:pt x="224" y="769"/>
                      <a:pt x="249" y="793"/>
                    </a:cubicBezTo>
                    <a:cubicBezTo>
                      <a:pt x="255" y="773"/>
                      <a:pt x="229" y="758"/>
                      <a:pt x="216" y="775"/>
                    </a:cubicBezTo>
                    <a:cubicBezTo>
                      <a:pt x="222" y="750"/>
                      <a:pt x="226" y="745"/>
                      <a:pt x="245" y="729"/>
                    </a:cubicBezTo>
                    <a:cubicBezTo>
                      <a:pt x="254" y="721"/>
                      <a:pt x="253" y="717"/>
                      <a:pt x="254" y="704"/>
                    </a:cubicBezTo>
                    <a:cubicBezTo>
                      <a:pt x="254" y="697"/>
                      <a:pt x="271" y="693"/>
                      <a:pt x="277" y="690"/>
                    </a:cubicBezTo>
                    <a:cubicBezTo>
                      <a:pt x="276" y="695"/>
                      <a:pt x="279" y="701"/>
                      <a:pt x="279" y="706"/>
                    </a:cubicBezTo>
                    <a:cubicBezTo>
                      <a:pt x="309" y="695"/>
                      <a:pt x="335" y="682"/>
                      <a:pt x="363" y="666"/>
                    </a:cubicBezTo>
                    <a:cubicBezTo>
                      <a:pt x="382" y="656"/>
                      <a:pt x="405" y="621"/>
                      <a:pt x="396" y="601"/>
                    </a:cubicBezTo>
                    <a:cubicBezTo>
                      <a:pt x="375" y="552"/>
                      <a:pt x="450" y="478"/>
                      <a:pt x="474" y="447"/>
                    </a:cubicBezTo>
                    <a:cubicBezTo>
                      <a:pt x="455" y="444"/>
                      <a:pt x="437" y="467"/>
                      <a:pt x="422" y="478"/>
                    </a:cubicBezTo>
                    <a:cubicBezTo>
                      <a:pt x="446" y="443"/>
                      <a:pt x="470" y="412"/>
                      <a:pt x="484" y="373"/>
                    </a:cubicBezTo>
                    <a:cubicBezTo>
                      <a:pt x="319" y="520"/>
                      <a:pt x="188" y="705"/>
                      <a:pt x="103" y="910"/>
                    </a:cubicBezTo>
                    <a:cubicBezTo>
                      <a:pt x="136" y="902"/>
                      <a:pt x="140" y="876"/>
                      <a:pt x="155" y="846"/>
                    </a:cubicBezTo>
                    <a:moveTo>
                      <a:pt x="370" y="683"/>
                    </a:moveTo>
                    <a:cubicBezTo>
                      <a:pt x="372" y="679"/>
                      <a:pt x="374" y="676"/>
                      <a:pt x="376" y="672"/>
                    </a:cubicBezTo>
                    <a:cubicBezTo>
                      <a:pt x="344" y="686"/>
                      <a:pt x="308" y="700"/>
                      <a:pt x="289" y="731"/>
                    </a:cubicBezTo>
                    <a:cubicBezTo>
                      <a:pt x="277" y="753"/>
                      <a:pt x="270" y="756"/>
                      <a:pt x="289" y="770"/>
                    </a:cubicBezTo>
                    <a:cubicBezTo>
                      <a:pt x="302" y="780"/>
                      <a:pt x="321" y="775"/>
                      <a:pt x="314" y="799"/>
                    </a:cubicBezTo>
                    <a:cubicBezTo>
                      <a:pt x="354" y="782"/>
                      <a:pt x="339" y="753"/>
                      <a:pt x="360" y="721"/>
                    </a:cubicBezTo>
                    <a:cubicBezTo>
                      <a:pt x="355" y="722"/>
                      <a:pt x="350" y="720"/>
                      <a:pt x="346" y="721"/>
                    </a:cubicBezTo>
                    <a:cubicBezTo>
                      <a:pt x="352" y="704"/>
                      <a:pt x="355" y="693"/>
                      <a:pt x="370" y="683"/>
                    </a:cubicBezTo>
                    <a:moveTo>
                      <a:pt x="1113" y="403"/>
                    </a:moveTo>
                    <a:cubicBezTo>
                      <a:pt x="1125" y="406"/>
                      <a:pt x="1137" y="408"/>
                      <a:pt x="1149" y="410"/>
                    </a:cubicBezTo>
                    <a:cubicBezTo>
                      <a:pt x="1166" y="412"/>
                      <a:pt x="1166" y="403"/>
                      <a:pt x="1180" y="403"/>
                    </a:cubicBezTo>
                    <a:cubicBezTo>
                      <a:pt x="1192" y="403"/>
                      <a:pt x="1216" y="409"/>
                      <a:pt x="1225" y="400"/>
                    </a:cubicBezTo>
                    <a:cubicBezTo>
                      <a:pt x="1231" y="395"/>
                      <a:pt x="1235" y="385"/>
                      <a:pt x="1244" y="387"/>
                    </a:cubicBezTo>
                    <a:cubicBezTo>
                      <a:pt x="1279" y="394"/>
                      <a:pt x="1300" y="333"/>
                      <a:pt x="1248" y="327"/>
                    </a:cubicBezTo>
                    <a:cubicBezTo>
                      <a:pt x="1227" y="325"/>
                      <a:pt x="1205" y="333"/>
                      <a:pt x="1186" y="338"/>
                    </a:cubicBezTo>
                    <a:cubicBezTo>
                      <a:pt x="1177" y="341"/>
                      <a:pt x="1165" y="341"/>
                      <a:pt x="1155" y="342"/>
                    </a:cubicBezTo>
                    <a:cubicBezTo>
                      <a:pt x="1136" y="343"/>
                      <a:pt x="1150" y="326"/>
                      <a:pt x="1137" y="324"/>
                    </a:cubicBezTo>
                    <a:cubicBezTo>
                      <a:pt x="1128" y="323"/>
                      <a:pt x="1106" y="316"/>
                      <a:pt x="1102" y="326"/>
                    </a:cubicBezTo>
                    <a:cubicBezTo>
                      <a:pt x="1100" y="331"/>
                      <a:pt x="1084" y="355"/>
                      <a:pt x="1090" y="357"/>
                    </a:cubicBezTo>
                    <a:cubicBezTo>
                      <a:pt x="1111" y="363"/>
                      <a:pt x="1093" y="400"/>
                      <a:pt x="1113" y="403"/>
                    </a:cubicBezTo>
                    <a:moveTo>
                      <a:pt x="2537" y="2360"/>
                    </a:moveTo>
                    <a:cubicBezTo>
                      <a:pt x="2520" y="2377"/>
                      <a:pt x="2502" y="2405"/>
                      <a:pt x="2482" y="2417"/>
                    </a:cubicBezTo>
                    <a:cubicBezTo>
                      <a:pt x="2468" y="2426"/>
                      <a:pt x="2465" y="2415"/>
                      <a:pt x="2451" y="2430"/>
                    </a:cubicBezTo>
                    <a:cubicBezTo>
                      <a:pt x="2444" y="2438"/>
                      <a:pt x="2435" y="2450"/>
                      <a:pt x="2425" y="2453"/>
                    </a:cubicBezTo>
                    <a:cubicBezTo>
                      <a:pt x="2408" y="2459"/>
                      <a:pt x="2392" y="2504"/>
                      <a:pt x="2379" y="2519"/>
                    </a:cubicBezTo>
                    <a:cubicBezTo>
                      <a:pt x="2359" y="2541"/>
                      <a:pt x="2334" y="2550"/>
                      <a:pt x="2319" y="2575"/>
                    </a:cubicBezTo>
                    <a:cubicBezTo>
                      <a:pt x="2297" y="2615"/>
                      <a:pt x="2355" y="2604"/>
                      <a:pt x="2362" y="2583"/>
                    </a:cubicBezTo>
                    <a:cubicBezTo>
                      <a:pt x="2366" y="2570"/>
                      <a:pt x="2390" y="2555"/>
                      <a:pt x="2401" y="2548"/>
                    </a:cubicBezTo>
                    <a:cubicBezTo>
                      <a:pt x="2422" y="2535"/>
                      <a:pt x="2427" y="2510"/>
                      <a:pt x="2446" y="2494"/>
                    </a:cubicBezTo>
                    <a:cubicBezTo>
                      <a:pt x="2478" y="2468"/>
                      <a:pt x="2497" y="2452"/>
                      <a:pt x="2517" y="2416"/>
                    </a:cubicBezTo>
                    <a:cubicBezTo>
                      <a:pt x="2530" y="2394"/>
                      <a:pt x="2543" y="2371"/>
                      <a:pt x="2550" y="2346"/>
                    </a:cubicBezTo>
                    <a:cubicBezTo>
                      <a:pt x="2545" y="2351"/>
                      <a:pt x="2540" y="2356"/>
                      <a:pt x="2535" y="2361"/>
                    </a:cubicBezTo>
                    <a:cubicBezTo>
                      <a:pt x="2537" y="2360"/>
                      <a:pt x="2537" y="2360"/>
                      <a:pt x="2537" y="2360"/>
                    </a:cubicBezTo>
                    <a:moveTo>
                      <a:pt x="1508" y="575"/>
                    </a:moveTo>
                    <a:cubicBezTo>
                      <a:pt x="1500" y="572"/>
                      <a:pt x="1487" y="571"/>
                      <a:pt x="1480" y="566"/>
                    </a:cubicBezTo>
                    <a:cubicBezTo>
                      <a:pt x="1473" y="561"/>
                      <a:pt x="1471" y="545"/>
                      <a:pt x="1461" y="545"/>
                    </a:cubicBezTo>
                    <a:cubicBezTo>
                      <a:pt x="1431" y="544"/>
                      <a:pt x="1424" y="553"/>
                      <a:pt x="1404" y="574"/>
                    </a:cubicBezTo>
                    <a:cubicBezTo>
                      <a:pt x="1382" y="598"/>
                      <a:pt x="1440" y="652"/>
                      <a:pt x="1457" y="677"/>
                    </a:cubicBezTo>
                    <a:cubicBezTo>
                      <a:pt x="1425" y="685"/>
                      <a:pt x="1432" y="704"/>
                      <a:pt x="1415" y="723"/>
                    </a:cubicBezTo>
                    <a:cubicBezTo>
                      <a:pt x="1411" y="727"/>
                      <a:pt x="1366" y="781"/>
                      <a:pt x="1375" y="780"/>
                    </a:cubicBezTo>
                    <a:cubicBezTo>
                      <a:pt x="1431" y="775"/>
                      <a:pt x="1487" y="771"/>
                      <a:pt x="1543" y="768"/>
                    </a:cubicBezTo>
                    <a:cubicBezTo>
                      <a:pt x="1581" y="767"/>
                      <a:pt x="1583" y="773"/>
                      <a:pt x="1593" y="735"/>
                    </a:cubicBezTo>
                    <a:cubicBezTo>
                      <a:pt x="1596" y="725"/>
                      <a:pt x="1603" y="716"/>
                      <a:pt x="1593" y="710"/>
                    </a:cubicBezTo>
                    <a:cubicBezTo>
                      <a:pt x="1578" y="701"/>
                      <a:pt x="1563" y="692"/>
                      <a:pt x="1547" y="683"/>
                    </a:cubicBezTo>
                    <a:cubicBezTo>
                      <a:pt x="1540" y="679"/>
                      <a:pt x="1513" y="645"/>
                      <a:pt x="1512" y="638"/>
                    </a:cubicBezTo>
                    <a:cubicBezTo>
                      <a:pt x="1508" y="625"/>
                      <a:pt x="1504" y="616"/>
                      <a:pt x="1497" y="604"/>
                    </a:cubicBezTo>
                    <a:cubicBezTo>
                      <a:pt x="1494" y="598"/>
                      <a:pt x="1509" y="585"/>
                      <a:pt x="1508" y="575"/>
                    </a:cubicBezTo>
                    <a:moveTo>
                      <a:pt x="1363" y="730"/>
                    </a:moveTo>
                    <a:cubicBezTo>
                      <a:pt x="1371" y="710"/>
                      <a:pt x="1374" y="689"/>
                      <a:pt x="1383" y="669"/>
                    </a:cubicBezTo>
                    <a:cubicBezTo>
                      <a:pt x="1391" y="653"/>
                      <a:pt x="1394" y="654"/>
                      <a:pt x="1378" y="646"/>
                    </a:cubicBezTo>
                    <a:cubicBezTo>
                      <a:pt x="1366" y="640"/>
                      <a:pt x="1355" y="633"/>
                      <a:pt x="1344" y="626"/>
                    </a:cubicBezTo>
                    <a:cubicBezTo>
                      <a:pt x="1333" y="619"/>
                      <a:pt x="1292" y="656"/>
                      <a:pt x="1285" y="663"/>
                    </a:cubicBezTo>
                    <a:cubicBezTo>
                      <a:pt x="1279" y="669"/>
                      <a:pt x="1281" y="683"/>
                      <a:pt x="1275" y="692"/>
                    </a:cubicBezTo>
                    <a:cubicBezTo>
                      <a:pt x="1268" y="703"/>
                      <a:pt x="1265" y="712"/>
                      <a:pt x="1265" y="725"/>
                    </a:cubicBezTo>
                    <a:cubicBezTo>
                      <a:pt x="1298" y="729"/>
                      <a:pt x="1330" y="730"/>
                      <a:pt x="1363" y="730"/>
                    </a:cubicBezTo>
                    <a:moveTo>
                      <a:pt x="1980" y="1188"/>
                    </a:moveTo>
                    <a:cubicBezTo>
                      <a:pt x="1992" y="1190"/>
                      <a:pt x="2003" y="1193"/>
                      <a:pt x="2015" y="1195"/>
                    </a:cubicBezTo>
                    <a:cubicBezTo>
                      <a:pt x="2015" y="1143"/>
                      <a:pt x="1977" y="1151"/>
                      <a:pt x="1934" y="1151"/>
                    </a:cubicBezTo>
                    <a:cubicBezTo>
                      <a:pt x="1934" y="1160"/>
                      <a:pt x="1934" y="1169"/>
                      <a:pt x="1935" y="1179"/>
                    </a:cubicBezTo>
                    <a:cubicBezTo>
                      <a:pt x="1951" y="1176"/>
                      <a:pt x="1965" y="1182"/>
                      <a:pt x="1980" y="1188"/>
                    </a:cubicBezTo>
                    <a:moveTo>
                      <a:pt x="1828" y="1132"/>
                    </a:moveTo>
                    <a:cubicBezTo>
                      <a:pt x="1856" y="1104"/>
                      <a:pt x="1845" y="1100"/>
                      <a:pt x="1819" y="1074"/>
                    </a:cubicBezTo>
                    <a:cubicBezTo>
                      <a:pt x="1795" y="1049"/>
                      <a:pt x="1804" y="1120"/>
                      <a:pt x="1801" y="1134"/>
                    </a:cubicBezTo>
                    <a:cubicBezTo>
                      <a:pt x="1810" y="1133"/>
                      <a:pt x="1819" y="1133"/>
                      <a:pt x="1828" y="1132"/>
                    </a:cubicBezTo>
                    <a:moveTo>
                      <a:pt x="2291" y="1261"/>
                    </a:moveTo>
                    <a:cubicBezTo>
                      <a:pt x="2301" y="1259"/>
                      <a:pt x="2311" y="1258"/>
                      <a:pt x="2320" y="1257"/>
                    </a:cubicBezTo>
                    <a:cubicBezTo>
                      <a:pt x="2308" y="1228"/>
                      <a:pt x="2265" y="1233"/>
                      <a:pt x="2240" y="1233"/>
                    </a:cubicBezTo>
                    <a:cubicBezTo>
                      <a:pt x="2243" y="1263"/>
                      <a:pt x="2267" y="1264"/>
                      <a:pt x="2291" y="1261"/>
                    </a:cubicBezTo>
                    <a:moveTo>
                      <a:pt x="1636" y="1107"/>
                    </a:moveTo>
                    <a:cubicBezTo>
                      <a:pt x="1627" y="1088"/>
                      <a:pt x="1613" y="1087"/>
                      <a:pt x="1604" y="1108"/>
                    </a:cubicBezTo>
                    <a:cubicBezTo>
                      <a:pt x="1616" y="1109"/>
                      <a:pt x="1630" y="1114"/>
                      <a:pt x="1636" y="1107"/>
                    </a:cubicBezTo>
                    <a:moveTo>
                      <a:pt x="1807" y="1015"/>
                    </a:moveTo>
                    <a:cubicBezTo>
                      <a:pt x="1808" y="1017"/>
                      <a:pt x="1815" y="1045"/>
                      <a:pt x="1808" y="1045"/>
                    </a:cubicBezTo>
                    <a:cubicBezTo>
                      <a:pt x="1818" y="1045"/>
                      <a:pt x="1835" y="1047"/>
                      <a:pt x="1832" y="1033"/>
                    </a:cubicBezTo>
                    <a:cubicBezTo>
                      <a:pt x="1830" y="1016"/>
                      <a:pt x="1824" y="1019"/>
                      <a:pt x="1807" y="1015"/>
                    </a:cubicBezTo>
                    <a:moveTo>
                      <a:pt x="1686" y="1096"/>
                    </a:moveTo>
                    <a:cubicBezTo>
                      <a:pt x="1681" y="1092"/>
                      <a:pt x="1652" y="1089"/>
                      <a:pt x="1661" y="1100"/>
                    </a:cubicBezTo>
                    <a:cubicBezTo>
                      <a:pt x="1668" y="1109"/>
                      <a:pt x="1685" y="1100"/>
                      <a:pt x="1686" y="1096"/>
                    </a:cubicBezTo>
                    <a:moveTo>
                      <a:pt x="2157" y="244"/>
                    </a:moveTo>
                    <a:cubicBezTo>
                      <a:pt x="2173" y="244"/>
                      <a:pt x="2212" y="276"/>
                      <a:pt x="2221" y="289"/>
                    </a:cubicBezTo>
                    <a:cubicBezTo>
                      <a:pt x="2228" y="300"/>
                      <a:pt x="2243" y="359"/>
                      <a:pt x="2259" y="323"/>
                    </a:cubicBezTo>
                    <a:cubicBezTo>
                      <a:pt x="2279" y="280"/>
                      <a:pt x="2234" y="287"/>
                      <a:pt x="2212" y="256"/>
                    </a:cubicBezTo>
                    <a:cubicBezTo>
                      <a:pt x="2204" y="245"/>
                      <a:pt x="2192" y="241"/>
                      <a:pt x="2186" y="229"/>
                    </a:cubicBezTo>
                    <a:cubicBezTo>
                      <a:pt x="2171" y="202"/>
                      <a:pt x="2168" y="189"/>
                      <a:pt x="2140" y="174"/>
                    </a:cubicBezTo>
                    <a:cubicBezTo>
                      <a:pt x="2136" y="186"/>
                      <a:pt x="2133" y="198"/>
                      <a:pt x="2131" y="211"/>
                    </a:cubicBezTo>
                    <a:cubicBezTo>
                      <a:pt x="2131" y="216"/>
                      <a:pt x="2153" y="244"/>
                      <a:pt x="2157" y="244"/>
                    </a:cubicBezTo>
                    <a:moveTo>
                      <a:pt x="2815" y="1451"/>
                    </a:moveTo>
                    <a:cubicBezTo>
                      <a:pt x="2825" y="1446"/>
                      <a:pt x="2835" y="1438"/>
                      <a:pt x="2845" y="1438"/>
                    </a:cubicBezTo>
                    <a:cubicBezTo>
                      <a:pt x="2861" y="1438"/>
                      <a:pt x="2846" y="1470"/>
                      <a:pt x="2855" y="1476"/>
                    </a:cubicBezTo>
                    <a:cubicBezTo>
                      <a:pt x="2864" y="1482"/>
                      <a:pt x="2881" y="1469"/>
                      <a:pt x="2888" y="1465"/>
                    </a:cubicBezTo>
                    <a:cubicBezTo>
                      <a:pt x="2916" y="1449"/>
                      <a:pt x="2916" y="1450"/>
                      <a:pt x="2915" y="1414"/>
                    </a:cubicBezTo>
                    <a:cubicBezTo>
                      <a:pt x="2910" y="1281"/>
                      <a:pt x="2887" y="1149"/>
                      <a:pt x="2847" y="1022"/>
                    </a:cubicBezTo>
                    <a:cubicBezTo>
                      <a:pt x="2759" y="745"/>
                      <a:pt x="2588" y="498"/>
                      <a:pt x="2360" y="318"/>
                    </a:cubicBezTo>
                    <a:cubicBezTo>
                      <a:pt x="2344" y="348"/>
                      <a:pt x="2331" y="327"/>
                      <a:pt x="2309" y="313"/>
                    </a:cubicBezTo>
                    <a:cubicBezTo>
                      <a:pt x="2304" y="329"/>
                      <a:pt x="2326" y="341"/>
                      <a:pt x="2337" y="351"/>
                    </a:cubicBezTo>
                    <a:cubicBezTo>
                      <a:pt x="2327" y="350"/>
                      <a:pt x="2304" y="344"/>
                      <a:pt x="2296" y="351"/>
                    </a:cubicBezTo>
                    <a:cubicBezTo>
                      <a:pt x="2287" y="359"/>
                      <a:pt x="2288" y="386"/>
                      <a:pt x="2282" y="386"/>
                    </a:cubicBezTo>
                    <a:cubicBezTo>
                      <a:pt x="2264" y="386"/>
                      <a:pt x="2259" y="375"/>
                      <a:pt x="2246" y="363"/>
                    </a:cubicBezTo>
                    <a:cubicBezTo>
                      <a:pt x="2236" y="351"/>
                      <a:pt x="2219" y="347"/>
                      <a:pt x="2205" y="341"/>
                    </a:cubicBezTo>
                    <a:cubicBezTo>
                      <a:pt x="2223" y="361"/>
                      <a:pt x="2236" y="379"/>
                      <a:pt x="2249" y="402"/>
                    </a:cubicBezTo>
                    <a:cubicBezTo>
                      <a:pt x="2236" y="400"/>
                      <a:pt x="2233" y="405"/>
                      <a:pt x="2228" y="415"/>
                    </a:cubicBezTo>
                    <a:cubicBezTo>
                      <a:pt x="2225" y="423"/>
                      <a:pt x="2209" y="421"/>
                      <a:pt x="2201" y="422"/>
                    </a:cubicBezTo>
                    <a:cubicBezTo>
                      <a:pt x="2213" y="435"/>
                      <a:pt x="2226" y="447"/>
                      <a:pt x="2239" y="459"/>
                    </a:cubicBezTo>
                    <a:cubicBezTo>
                      <a:pt x="2221" y="453"/>
                      <a:pt x="2206" y="448"/>
                      <a:pt x="2193" y="437"/>
                    </a:cubicBezTo>
                    <a:cubicBezTo>
                      <a:pt x="2177" y="424"/>
                      <a:pt x="2123" y="396"/>
                      <a:pt x="2127" y="374"/>
                    </a:cubicBezTo>
                    <a:cubicBezTo>
                      <a:pt x="2149" y="381"/>
                      <a:pt x="2171" y="388"/>
                      <a:pt x="2193" y="395"/>
                    </a:cubicBezTo>
                    <a:cubicBezTo>
                      <a:pt x="2197" y="373"/>
                      <a:pt x="2204" y="363"/>
                      <a:pt x="2181" y="356"/>
                    </a:cubicBezTo>
                    <a:cubicBezTo>
                      <a:pt x="2162" y="349"/>
                      <a:pt x="2144" y="343"/>
                      <a:pt x="2126" y="335"/>
                    </a:cubicBezTo>
                    <a:cubicBezTo>
                      <a:pt x="2100" y="324"/>
                      <a:pt x="2076" y="312"/>
                      <a:pt x="2050" y="301"/>
                    </a:cubicBezTo>
                    <a:cubicBezTo>
                      <a:pt x="2036" y="294"/>
                      <a:pt x="2036" y="311"/>
                      <a:pt x="2016" y="306"/>
                    </a:cubicBezTo>
                    <a:cubicBezTo>
                      <a:pt x="2032" y="268"/>
                      <a:pt x="1912" y="259"/>
                      <a:pt x="1898" y="289"/>
                    </a:cubicBezTo>
                    <a:cubicBezTo>
                      <a:pt x="1897" y="291"/>
                      <a:pt x="1846" y="298"/>
                      <a:pt x="1835" y="308"/>
                    </a:cubicBezTo>
                    <a:cubicBezTo>
                      <a:pt x="1820" y="321"/>
                      <a:pt x="1823" y="322"/>
                      <a:pt x="1821" y="342"/>
                    </a:cubicBezTo>
                    <a:cubicBezTo>
                      <a:pt x="1820" y="356"/>
                      <a:pt x="1801" y="371"/>
                      <a:pt x="1793" y="380"/>
                    </a:cubicBezTo>
                    <a:cubicBezTo>
                      <a:pt x="1785" y="390"/>
                      <a:pt x="1778" y="401"/>
                      <a:pt x="1768" y="407"/>
                    </a:cubicBezTo>
                    <a:cubicBezTo>
                      <a:pt x="1757" y="414"/>
                      <a:pt x="1736" y="418"/>
                      <a:pt x="1729" y="424"/>
                    </a:cubicBezTo>
                    <a:cubicBezTo>
                      <a:pt x="1719" y="432"/>
                      <a:pt x="1725" y="443"/>
                      <a:pt x="1712" y="449"/>
                    </a:cubicBezTo>
                    <a:cubicBezTo>
                      <a:pt x="1695" y="455"/>
                      <a:pt x="1681" y="459"/>
                      <a:pt x="1671" y="473"/>
                    </a:cubicBezTo>
                    <a:cubicBezTo>
                      <a:pt x="1657" y="490"/>
                      <a:pt x="1680" y="517"/>
                      <a:pt x="1688" y="537"/>
                    </a:cubicBezTo>
                    <a:cubicBezTo>
                      <a:pt x="1702" y="571"/>
                      <a:pt x="1705" y="579"/>
                      <a:pt x="1742" y="568"/>
                    </a:cubicBezTo>
                    <a:cubicBezTo>
                      <a:pt x="1767" y="560"/>
                      <a:pt x="1794" y="546"/>
                      <a:pt x="1819" y="565"/>
                    </a:cubicBezTo>
                    <a:cubicBezTo>
                      <a:pt x="1839" y="579"/>
                      <a:pt x="1854" y="609"/>
                      <a:pt x="1848" y="631"/>
                    </a:cubicBezTo>
                    <a:cubicBezTo>
                      <a:pt x="1844" y="647"/>
                      <a:pt x="1835" y="636"/>
                      <a:pt x="1841" y="657"/>
                    </a:cubicBezTo>
                    <a:cubicBezTo>
                      <a:pt x="1844" y="672"/>
                      <a:pt x="1852" y="667"/>
                      <a:pt x="1866" y="667"/>
                    </a:cubicBezTo>
                    <a:cubicBezTo>
                      <a:pt x="1906" y="666"/>
                      <a:pt x="1915" y="661"/>
                      <a:pt x="1947" y="638"/>
                    </a:cubicBezTo>
                    <a:cubicBezTo>
                      <a:pt x="1960" y="629"/>
                      <a:pt x="1943" y="586"/>
                      <a:pt x="1954" y="570"/>
                    </a:cubicBezTo>
                    <a:cubicBezTo>
                      <a:pt x="1958" y="563"/>
                      <a:pt x="1978" y="542"/>
                      <a:pt x="1978" y="534"/>
                    </a:cubicBezTo>
                    <a:cubicBezTo>
                      <a:pt x="1977" y="526"/>
                      <a:pt x="1949" y="506"/>
                      <a:pt x="1943" y="500"/>
                    </a:cubicBezTo>
                    <a:cubicBezTo>
                      <a:pt x="1923" y="480"/>
                      <a:pt x="1936" y="458"/>
                      <a:pt x="1950" y="441"/>
                    </a:cubicBezTo>
                    <a:cubicBezTo>
                      <a:pt x="1960" y="428"/>
                      <a:pt x="1970" y="414"/>
                      <a:pt x="1981" y="401"/>
                    </a:cubicBezTo>
                    <a:cubicBezTo>
                      <a:pt x="1990" y="389"/>
                      <a:pt x="2014" y="390"/>
                      <a:pt x="2011" y="408"/>
                    </a:cubicBezTo>
                    <a:cubicBezTo>
                      <a:pt x="2010" y="416"/>
                      <a:pt x="1994" y="425"/>
                      <a:pt x="1992" y="436"/>
                    </a:cubicBezTo>
                    <a:cubicBezTo>
                      <a:pt x="1988" y="449"/>
                      <a:pt x="1992" y="457"/>
                      <a:pt x="1995" y="470"/>
                    </a:cubicBezTo>
                    <a:cubicBezTo>
                      <a:pt x="1998" y="485"/>
                      <a:pt x="2004" y="519"/>
                      <a:pt x="2017" y="532"/>
                    </a:cubicBezTo>
                    <a:cubicBezTo>
                      <a:pt x="2039" y="553"/>
                      <a:pt x="2152" y="525"/>
                      <a:pt x="2156" y="551"/>
                    </a:cubicBezTo>
                    <a:cubicBezTo>
                      <a:pt x="2129" y="555"/>
                      <a:pt x="2101" y="560"/>
                      <a:pt x="2073" y="565"/>
                    </a:cubicBezTo>
                    <a:cubicBezTo>
                      <a:pt x="2085" y="584"/>
                      <a:pt x="2097" y="602"/>
                      <a:pt x="2109" y="620"/>
                    </a:cubicBezTo>
                    <a:cubicBezTo>
                      <a:pt x="2087" y="616"/>
                      <a:pt x="2066" y="611"/>
                      <a:pt x="2045" y="606"/>
                    </a:cubicBezTo>
                    <a:cubicBezTo>
                      <a:pt x="2045" y="625"/>
                      <a:pt x="2045" y="644"/>
                      <a:pt x="2045" y="663"/>
                    </a:cubicBezTo>
                    <a:cubicBezTo>
                      <a:pt x="2045" y="688"/>
                      <a:pt x="2042" y="683"/>
                      <a:pt x="2017" y="683"/>
                    </a:cubicBezTo>
                    <a:cubicBezTo>
                      <a:pt x="1973" y="686"/>
                      <a:pt x="1917" y="679"/>
                      <a:pt x="1868" y="679"/>
                    </a:cubicBezTo>
                    <a:cubicBezTo>
                      <a:pt x="1857" y="680"/>
                      <a:pt x="1819" y="672"/>
                      <a:pt x="1818" y="659"/>
                    </a:cubicBezTo>
                    <a:cubicBezTo>
                      <a:pt x="1816" y="635"/>
                      <a:pt x="1815" y="611"/>
                      <a:pt x="1813" y="587"/>
                    </a:cubicBezTo>
                    <a:cubicBezTo>
                      <a:pt x="1805" y="591"/>
                      <a:pt x="1753" y="610"/>
                      <a:pt x="1754" y="615"/>
                    </a:cubicBezTo>
                    <a:cubicBezTo>
                      <a:pt x="1759" y="640"/>
                      <a:pt x="1763" y="665"/>
                      <a:pt x="1767" y="689"/>
                    </a:cubicBezTo>
                    <a:cubicBezTo>
                      <a:pt x="1735" y="694"/>
                      <a:pt x="1702" y="696"/>
                      <a:pt x="1674" y="715"/>
                    </a:cubicBezTo>
                    <a:cubicBezTo>
                      <a:pt x="1658" y="726"/>
                      <a:pt x="1652" y="738"/>
                      <a:pt x="1647" y="756"/>
                    </a:cubicBezTo>
                    <a:cubicBezTo>
                      <a:pt x="1646" y="761"/>
                      <a:pt x="1611" y="766"/>
                      <a:pt x="1601" y="778"/>
                    </a:cubicBezTo>
                    <a:cubicBezTo>
                      <a:pt x="1578" y="805"/>
                      <a:pt x="1527" y="796"/>
                      <a:pt x="1492" y="799"/>
                    </a:cubicBezTo>
                    <a:cubicBezTo>
                      <a:pt x="1481" y="800"/>
                      <a:pt x="1474" y="822"/>
                      <a:pt x="1463" y="823"/>
                    </a:cubicBezTo>
                    <a:cubicBezTo>
                      <a:pt x="1442" y="825"/>
                      <a:pt x="1422" y="826"/>
                      <a:pt x="1401" y="828"/>
                    </a:cubicBezTo>
                    <a:cubicBezTo>
                      <a:pt x="1411" y="849"/>
                      <a:pt x="1431" y="837"/>
                      <a:pt x="1443" y="852"/>
                    </a:cubicBezTo>
                    <a:cubicBezTo>
                      <a:pt x="1452" y="861"/>
                      <a:pt x="1486" y="880"/>
                      <a:pt x="1487" y="890"/>
                    </a:cubicBezTo>
                    <a:cubicBezTo>
                      <a:pt x="1490" y="908"/>
                      <a:pt x="1501" y="916"/>
                      <a:pt x="1497" y="933"/>
                    </a:cubicBezTo>
                    <a:cubicBezTo>
                      <a:pt x="1491" y="958"/>
                      <a:pt x="1496" y="976"/>
                      <a:pt x="1472" y="981"/>
                    </a:cubicBezTo>
                    <a:cubicBezTo>
                      <a:pt x="1439" y="989"/>
                      <a:pt x="1401" y="958"/>
                      <a:pt x="1368" y="958"/>
                    </a:cubicBezTo>
                    <a:cubicBezTo>
                      <a:pt x="1318" y="959"/>
                      <a:pt x="1278" y="953"/>
                      <a:pt x="1237" y="984"/>
                    </a:cubicBezTo>
                    <a:cubicBezTo>
                      <a:pt x="1255" y="1006"/>
                      <a:pt x="1254" y="1013"/>
                      <a:pt x="1254" y="1042"/>
                    </a:cubicBezTo>
                    <a:cubicBezTo>
                      <a:pt x="1253" y="1056"/>
                      <a:pt x="1203" y="1071"/>
                      <a:pt x="1208" y="1084"/>
                    </a:cubicBezTo>
                    <a:cubicBezTo>
                      <a:pt x="1216" y="1109"/>
                      <a:pt x="1225" y="1130"/>
                      <a:pt x="1238" y="1153"/>
                    </a:cubicBezTo>
                    <a:cubicBezTo>
                      <a:pt x="1251" y="1176"/>
                      <a:pt x="1276" y="1166"/>
                      <a:pt x="1301" y="1165"/>
                    </a:cubicBezTo>
                    <a:cubicBezTo>
                      <a:pt x="1313" y="1164"/>
                      <a:pt x="1329" y="1174"/>
                      <a:pt x="1345" y="1174"/>
                    </a:cubicBezTo>
                    <a:cubicBezTo>
                      <a:pt x="1376" y="1175"/>
                      <a:pt x="1407" y="1176"/>
                      <a:pt x="1438" y="1177"/>
                    </a:cubicBezTo>
                    <a:cubicBezTo>
                      <a:pt x="1455" y="1177"/>
                      <a:pt x="1479" y="1157"/>
                      <a:pt x="1493" y="1149"/>
                    </a:cubicBezTo>
                    <a:cubicBezTo>
                      <a:pt x="1510" y="1140"/>
                      <a:pt x="1541" y="1131"/>
                      <a:pt x="1550" y="1112"/>
                    </a:cubicBezTo>
                    <a:cubicBezTo>
                      <a:pt x="1532" y="1112"/>
                      <a:pt x="1540" y="1096"/>
                      <a:pt x="1541" y="1082"/>
                    </a:cubicBezTo>
                    <a:cubicBezTo>
                      <a:pt x="1542" y="1063"/>
                      <a:pt x="1541" y="1064"/>
                      <a:pt x="1558" y="1057"/>
                    </a:cubicBezTo>
                    <a:cubicBezTo>
                      <a:pt x="1588" y="1046"/>
                      <a:pt x="1618" y="1032"/>
                      <a:pt x="1648" y="1025"/>
                    </a:cubicBezTo>
                    <a:cubicBezTo>
                      <a:pt x="1662" y="1021"/>
                      <a:pt x="1651" y="999"/>
                      <a:pt x="1660" y="991"/>
                    </a:cubicBezTo>
                    <a:cubicBezTo>
                      <a:pt x="1665" y="987"/>
                      <a:pt x="1689" y="989"/>
                      <a:pt x="1696" y="988"/>
                    </a:cubicBezTo>
                    <a:cubicBezTo>
                      <a:pt x="1730" y="985"/>
                      <a:pt x="1764" y="981"/>
                      <a:pt x="1798" y="978"/>
                    </a:cubicBezTo>
                    <a:cubicBezTo>
                      <a:pt x="1815" y="976"/>
                      <a:pt x="1848" y="1011"/>
                      <a:pt x="1863" y="1022"/>
                    </a:cubicBezTo>
                    <a:cubicBezTo>
                      <a:pt x="1872" y="1027"/>
                      <a:pt x="1884" y="1028"/>
                      <a:pt x="1892" y="1035"/>
                    </a:cubicBezTo>
                    <a:cubicBezTo>
                      <a:pt x="1902" y="1043"/>
                      <a:pt x="1900" y="1054"/>
                      <a:pt x="1913" y="1059"/>
                    </a:cubicBezTo>
                    <a:cubicBezTo>
                      <a:pt x="1946" y="1072"/>
                      <a:pt x="1979" y="1084"/>
                      <a:pt x="2013" y="1097"/>
                    </a:cubicBezTo>
                    <a:cubicBezTo>
                      <a:pt x="2024" y="1101"/>
                      <a:pt x="2020" y="1155"/>
                      <a:pt x="2021" y="1168"/>
                    </a:cubicBezTo>
                    <a:cubicBezTo>
                      <a:pt x="2029" y="1164"/>
                      <a:pt x="2054" y="1155"/>
                      <a:pt x="2055" y="1146"/>
                    </a:cubicBezTo>
                    <a:cubicBezTo>
                      <a:pt x="2058" y="1128"/>
                      <a:pt x="2053" y="1111"/>
                      <a:pt x="2073" y="1108"/>
                    </a:cubicBezTo>
                    <a:cubicBezTo>
                      <a:pt x="2083" y="1107"/>
                      <a:pt x="2097" y="1091"/>
                      <a:pt x="2083" y="1085"/>
                    </a:cubicBezTo>
                    <a:cubicBezTo>
                      <a:pt x="2063" y="1076"/>
                      <a:pt x="2043" y="1067"/>
                      <a:pt x="2023" y="1059"/>
                    </a:cubicBezTo>
                    <a:cubicBezTo>
                      <a:pt x="1997" y="1047"/>
                      <a:pt x="1986" y="1024"/>
                      <a:pt x="1962" y="1011"/>
                    </a:cubicBezTo>
                    <a:cubicBezTo>
                      <a:pt x="1952" y="1005"/>
                      <a:pt x="1925" y="996"/>
                      <a:pt x="1919" y="986"/>
                    </a:cubicBezTo>
                    <a:cubicBezTo>
                      <a:pt x="1913" y="977"/>
                      <a:pt x="1917" y="955"/>
                      <a:pt x="1914" y="944"/>
                    </a:cubicBezTo>
                    <a:cubicBezTo>
                      <a:pt x="1924" y="949"/>
                      <a:pt x="1976" y="967"/>
                      <a:pt x="1978" y="972"/>
                    </a:cubicBezTo>
                    <a:cubicBezTo>
                      <a:pt x="1983" y="987"/>
                      <a:pt x="1980" y="997"/>
                      <a:pt x="1997" y="995"/>
                    </a:cubicBezTo>
                    <a:cubicBezTo>
                      <a:pt x="2018" y="992"/>
                      <a:pt x="2010" y="1010"/>
                      <a:pt x="2026" y="1019"/>
                    </a:cubicBezTo>
                    <a:cubicBezTo>
                      <a:pt x="2031" y="1022"/>
                      <a:pt x="2041" y="1015"/>
                      <a:pt x="2046" y="1017"/>
                    </a:cubicBezTo>
                    <a:cubicBezTo>
                      <a:pt x="2052" y="1020"/>
                      <a:pt x="2056" y="1027"/>
                      <a:pt x="2062" y="1029"/>
                    </a:cubicBezTo>
                    <a:cubicBezTo>
                      <a:pt x="2084" y="1038"/>
                      <a:pt x="2086" y="1032"/>
                      <a:pt x="2093" y="1055"/>
                    </a:cubicBezTo>
                    <a:cubicBezTo>
                      <a:pt x="2097" y="1070"/>
                      <a:pt x="2100" y="1086"/>
                      <a:pt x="2103" y="1101"/>
                    </a:cubicBezTo>
                    <a:cubicBezTo>
                      <a:pt x="2106" y="1117"/>
                      <a:pt x="2122" y="1114"/>
                      <a:pt x="2133" y="1125"/>
                    </a:cubicBezTo>
                    <a:cubicBezTo>
                      <a:pt x="2150" y="1142"/>
                      <a:pt x="2163" y="1174"/>
                      <a:pt x="2177" y="1194"/>
                    </a:cubicBezTo>
                    <a:cubicBezTo>
                      <a:pt x="2182" y="1202"/>
                      <a:pt x="2205" y="1204"/>
                      <a:pt x="2213" y="1206"/>
                    </a:cubicBezTo>
                    <a:cubicBezTo>
                      <a:pt x="2229" y="1211"/>
                      <a:pt x="2232" y="1192"/>
                      <a:pt x="2239" y="1179"/>
                    </a:cubicBezTo>
                    <a:cubicBezTo>
                      <a:pt x="2255" y="1149"/>
                      <a:pt x="2206" y="1139"/>
                      <a:pt x="2234" y="1115"/>
                    </a:cubicBezTo>
                    <a:cubicBezTo>
                      <a:pt x="2249" y="1103"/>
                      <a:pt x="2259" y="1092"/>
                      <a:pt x="2279" y="1090"/>
                    </a:cubicBezTo>
                    <a:cubicBezTo>
                      <a:pt x="2292" y="1088"/>
                      <a:pt x="2312" y="1090"/>
                      <a:pt x="2322" y="1079"/>
                    </a:cubicBezTo>
                    <a:cubicBezTo>
                      <a:pt x="2313" y="1110"/>
                      <a:pt x="2283" y="1094"/>
                      <a:pt x="2289" y="1132"/>
                    </a:cubicBezTo>
                    <a:cubicBezTo>
                      <a:pt x="2293" y="1154"/>
                      <a:pt x="2296" y="1195"/>
                      <a:pt x="2325" y="1198"/>
                    </a:cubicBezTo>
                    <a:cubicBezTo>
                      <a:pt x="2337" y="1200"/>
                      <a:pt x="2346" y="1216"/>
                      <a:pt x="2353" y="1225"/>
                    </a:cubicBezTo>
                    <a:cubicBezTo>
                      <a:pt x="2358" y="1231"/>
                      <a:pt x="2375" y="1212"/>
                      <a:pt x="2383" y="1212"/>
                    </a:cubicBezTo>
                    <a:cubicBezTo>
                      <a:pt x="2407" y="1214"/>
                      <a:pt x="2441" y="1225"/>
                      <a:pt x="2463" y="1220"/>
                    </a:cubicBezTo>
                    <a:cubicBezTo>
                      <a:pt x="2459" y="1232"/>
                      <a:pt x="2454" y="1244"/>
                      <a:pt x="2450" y="1256"/>
                    </a:cubicBezTo>
                    <a:cubicBezTo>
                      <a:pt x="2477" y="1259"/>
                      <a:pt x="2487" y="1252"/>
                      <a:pt x="2498" y="1226"/>
                    </a:cubicBezTo>
                    <a:cubicBezTo>
                      <a:pt x="2495" y="1268"/>
                      <a:pt x="2493" y="1310"/>
                      <a:pt x="2494" y="1353"/>
                    </a:cubicBezTo>
                    <a:cubicBezTo>
                      <a:pt x="2423" y="1353"/>
                      <a:pt x="2352" y="1361"/>
                      <a:pt x="2282" y="1348"/>
                    </a:cubicBezTo>
                    <a:cubicBezTo>
                      <a:pt x="2283" y="1357"/>
                      <a:pt x="2284" y="1367"/>
                      <a:pt x="2285" y="1376"/>
                    </a:cubicBezTo>
                    <a:cubicBezTo>
                      <a:pt x="2260" y="1371"/>
                      <a:pt x="2256" y="1376"/>
                      <a:pt x="2260" y="1350"/>
                    </a:cubicBezTo>
                    <a:cubicBezTo>
                      <a:pt x="2264" y="1327"/>
                      <a:pt x="2237" y="1337"/>
                      <a:pt x="2219" y="1331"/>
                    </a:cubicBezTo>
                    <a:cubicBezTo>
                      <a:pt x="2217" y="1330"/>
                      <a:pt x="2220" y="1323"/>
                      <a:pt x="2212" y="1321"/>
                    </a:cubicBezTo>
                    <a:cubicBezTo>
                      <a:pt x="2201" y="1317"/>
                      <a:pt x="2190" y="1314"/>
                      <a:pt x="2179" y="1310"/>
                    </a:cubicBezTo>
                    <a:cubicBezTo>
                      <a:pt x="2156" y="1303"/>
                      <a:pt x="2154" y="1321"/>
                      <a:pt x="2141" y="1340"/>
                    </a:cubicBezTo>
                    <a:cubicBezTo>
                      <a:pt x="2133" y="1352"/>
                      <a:pt x="2130" y="1370"/>
                      <a:pt x="2116" y="1361"/>
                    </a:cubicBezTo>
                    <a:cubicBezTo>
                      <a:pt x="2093" y="1347"/>
                      <a:pt x="2071" y="1333"/>
                      <a:pt x="2048" y="1319"/>
                    </a:cubicBezTo>
                    <a:cubicBezTo>
                      <a:pt x="2020" y="1302"/>
                      <a:pt x="1981" y="1312"/>
                      <a:pt x="1949" y="1313"/>
                    </a:cubicBezTo>
                    <a:cubicBezTo>
                      <a:pt x="1964" y="1280"/>
                      <a:pt x="1932" y="1279"/>
                      <a:pt x="1904" y="1266"/>
                    </a:cubicBezTo>
                    <a:cubicBezTo>
                      <a:pt x="1867" y="1250"/>
                      <a:pt x="1887" y="1241"/>
                      <a:pt x="1893" y="1206"/>
                    </a:cubicBezTo>
                    <a:cubicBezTo>
                      <a:pt x="1895" y="1190"/>
                      <a:pt x="1901" y="1186"/>
                      <a:pt x="1885" y="1183"/>
                    </a:cubicBezTo>
                    <a:cubicBezTo>
                      <a:pt x="1868" y="1179"/>
                      <a:pt x="1851" y="1176"/>
                      <a:pt x="1835" y="1172"/>
                    </a:cubicBezTo>
                    <a:cubicBezTo>
                      <a:pt x="1816" y="1169"/>
                      <a:pt x="1797" y="1171"/>
                      <a:pt x="1779" y="1171"/>
                    </a:cubicBezTo>
                    <a:cubicBezTo>
                      <a:pt x="1715" y="1172"/>
                      <a:pt x="1652" y="1174"/>
                      <a:pt x="1588" y="1175"/>
                    </a:cubicBezTo>
                    <a:cubicBezTo>
                      <a:pt x="1577" y="1175"/>
                      <a:pt x="1566" y="1178"/>
                      <a:pt x="1555" y="1179"/>
                    </a:cubicBezTo>
                    <a:cubicBezTo>
                      <a:pt x="1547" y="1180"/>
                      <a:pt x="1545" y="1193"/>
                      <a:pt x="1542" y="1193"/>
                    </a:cubicBezTo>
                    <a:cubicBezTo>
                      <a:pt x="1510" y="1194"/>
                      <a:pt x="1479" y="1195"/>
                      <a:pt x="1448" y="1197"/>
                    </a:cubicBezTo>
                    <a:cubicBezTo>
                      <a:pt x="1387" y="1199"/>
                      <a:pt x="1356" y="1204"/>
                      <a:pt x="1300" y="1228"/>
                    </a:cubicBezTo>
                    <a:cubicBezTo>
                      <a:pt x="1268" y="1242"/>
                      <a:pt x="1237" y="1256"/>
                      <a:pt x="1205" y="1270"/>
                    </a:cubicBezTo>
                    <a:cubicBezTo>
                      <a:pt x="1183" y="1279"/>
                      <a:pt x="1183" y="1298"/>
                      <a:pt x="1174" y="1320"/>
                    </a:cubicBezTo>
                    <a:cubicBezTo>
                      <a:pt x="1168" y="1338"/>
                      <a:pt x="1162" y="1381"/>
                      <a:pt x="1142" y="1385"/>
                    </a:cubicBezTo>
                    <a:cubicBezTo>
                      <a:pt x="1110" y="1392"/>
                      <a:pt x="1105" y="1394"/>
                      <a:pt x="1084" y="1418"/>
                    </a:cubicBezTo>
                    <a:cubicBezTo>
                      <a:pt x="1059" y="1446"/>
                      <a:pt x="1035" y="1473"/>
                      <a:pt x="1010" y="1501"/>
                    </a:cubicBezTo>
                    <a:cubicBezTo>
                      <a:pt x="1000" y="1512"/>
                      <a:pt x="978" y="1549"/>
                      <a:pt x="963" y="1551"/>
                    </a:cubicBezTo>
                    <a:cubicBezTo>
                      <a:pt x="938" y="1555"/>
                      <a:pt x="931" y="1551"/>
                      <a:pt x="927" y="1576"/>
                    </a:cubicBezTo>
                    <a:cubicBezTo>
                      <a:pt x="926" y="1581"/>
                      <a:pt x="921" y="1592"/>
                      <a:pt x="926" y="1597"/>
                    </a:cubicBezTo>
                    <a:cubicBezTo>
                      <a:pt x="929" y="1600"/>
                      <a:pt x="939" y="1606"/>
                      <a:pt x="937" y="1611"/>
                    </a:cubicBezTo>
                    <a:cubicBezTo>
                      <a:pt x="932" y="1628"/>
                      <a:pt x="918" y="1646"/>
                      <a:pt x="935" y="1654"/>
                    </a:cubicBezTo>
                    <a:cubicBezTo>
                      <a:pt x="951" y="1662"/>
                      <a:pt x="949" y="1676"/>
                      <a:pt x="952" y="1693"/>
                    </a:cubicBezTo>
                    <a:cubicBezTo>
                      <a:pt x="914" y="1688"/>
                      <a:pt x="921" y="1696"/>
                      <a:pt x="910" y="1732"/>
                    </a:cubicBezTo>
                    <a:cubicBezTo>
                      <a:pt x="900" y="1766"/>
                      <a:pt x="899" y="1782"/>
                      <a:pt x="903" y="1817"/>
                    </a:cubicBezTo>
                    <a:cubicBezTo>
                      <a:pt x="906" y="1840"/>
                      <a:pt x="924" y="1851"/>
                      <a:pt x="940" y="1867"/>
                    </a:cubicBezTo>
                    <a:cubicBezTo>
                      <a:pt x="965" y="1892"/>
                      <a:pt x="989" y="1916"/>
                      <a:pt x="1013" y="1940"/>
                    </a:cubicBezTo>
                    <a:cubicBezTo>
                      <a:pt x="1046" y="1973"/>
                      <a:pt x="1094" y="1997"/>
                      <a:pt x="1134" y="2020"/>
                    </a:cubicBezTo>
                    <a:cubicBezTo>
                      <a:pt x="1153" y="2031"/>
                      <a:pt x="1189" y="2063"/>
                      <a:pt x="1211" y="2065"/>
                    </a:cubicBezTo>
                    <a:cubicBezTo>
                      <a:pt x="1237" y="2068"/>
                      <a:pt x="1265" y="2041"/>
                      <a:pt x="1291" y="2040"/>
                    </a:cubicBezTo>
                    <a:cubicBezTo>
                      <a:pt x="1317" y="2040"/>
                      <a:pt x="1352" y="2056"/>
                      <a:pt x="1377" y="2063"/>
                    </a:cubicBezTo>
                    <a:cubicBezTo>
                      <a:pt x="1413" y="2072"/>
                      <a:pt x="1417" y="2063"/>
                      <a:pt x="1448" y="2039"/>
                    </a:cubicBezTo>
                    <a:cubicBezTo>
                      <a:pt x="1460" y="2030"/>
                      <a:pt x="1500" y="2036"/>
                      <a:pt x="1514" y="2035"/>
                    </a:cubicBezTo>
                    <a:cubicBezTo>
                      <a:pt x="1548" y="2034"/>
                      <a:pt x="1581" y="2032"/>
                      <a:pt x="1615" y="2031"/>
                    </a:cubicBezTo>
                    <a:cubicBezTo>
                      <a:pt x="1631" y="2030"/>
                      <a:pt x="1664" y="2065"/>
                      <a:pt x="1678" y="2075"/>
                    </a:cubicBezTo>
                    <a:cubicBezTo>
                      <a:pt x="1701" y="2092"/>
                      <a:pt x="1728" y="2089"/>
                      <a:pt x="1757" y="2091"/>
                    </a:cubicBezTo>
                    <a:cubicBezTo>
                      <a:pt x="1794" y="2094"/>
                      <a:pt x="1783" y="2106"/>
                      <a:pt x="1781" y="2143"/>
                    </a:cubicBezTo>
                    <a:cubicBezTo>
                      <a:pt x="1781" y="2155"/>
                      <a:pt x="1781" y="2166"/>
                      <a:pt x="1780" y="2178"/>
                    </a:cubicBezTo>
                    <a:cubicBezTo>
                      <a:pt x="1779" y="2186"/>
                      <a:pt x="1760" y="2182"/>
                      <a:pt x="1758" y="2201"/>
                    </a:cubicBezTo>
                    <a:cubicBezTo>
                      <a:pt x="1756" y="2211"/>
                      <a:pt x="1768" y="2250"/>
                      <a:pt x="1778" y="2261"/>
                    </a:cubicBezTo>
                    <a:cubicBezTo>
                      <a:pt x="1782" y="2266"/>
                      <a:pt x="1787" y="2274"/>
                      <a:pt x="1792" y="2278"/>
                    </a:cubicBezTo>
                    <a:cubicBezTo>
                      <a:pt x="1796" y="2280"/>
                      <a:pt x="1806" y="2276"/>
                      <a:pt x="1809" y="2279"/>
                    </a:cubicBezTo>
                    <a:cubicBezTo>
                      <a:pt x="1818" y="2288"/>
                      <a:pt x="1823" y="2312"/>
                      <a:pt x="1828" y="2325"/>
                    </a:cubicBezTo>
                    <a:cubicBezTo>
                      <a:pt x="1833" y="2338"/>
                      <a:pt x="1860" y="2370"/>
                      <a:pt x="1858" y="2375"/>
                    </a:cubicBezTo>
                    <a:cubicBezTo>
                      <a:pt x="1853" y="2388"/>
                      <a:pt x="1837" y="2379"/>
                      <a:pt x="1838" y="2397"/>
                    </a:cubicBezTo>
                    <a:cubicBezTo>
                      <a:pt x="1839" y="2405"/>
                      <a:pt x="1848" y="2431"/>
                      <a:pt x="1847" y="2432"/>
                    </a:cubicBezTo>
                    <a:cubicBezTo>
                      <a:pt x="1837" y="2455"/>
                      <a:pt x="1810" y="2475"/>
                      <a:pt x="1793" y="2493"/>
                    </a:cubicBezTo>
                    <a:cubicBezTo>
                      <a:pt x="1766" y="2523"/>
                      <a:pt x="1760" y="2522"/>
                      <a:pt x="1768" y="2562"/>
                    </a:cubicBezTo>
                    <a:cubicBezTo>
                      <a:pt x="1774" y="2589"/>
                      <a:pt x="1793" y="2601"/>
                      <a:pt x="1787" y="2630"/>
                    </a:cubicBezTo>
                    <a:cubicBezTo>
                      <a:pt x="1785" y="2642"/>
                      <a:pt x="1780" y="2654"/>
                      <a:pt x="1775" y="2665"/>
                    </a:cubicBezTo>
                    <a:cubicBezTo>
                      <a:pt x="1766" y="2686"/>
                      <a:pt x="1781" y="2682"/>
                      <a:pt x="1784" y="2695"/>
                    </a:cubicBezTo>
                    <a:cubicBezTo>
                      <a:pt x="1790" y="2718"/>
                      <a:pt x="1784" y="2753"/>
                      <a:pt x="1775" y="2772"/>
                    </a:cubicBezTo>
                    <a:cubicBezTo>
                      <a:pt x="1764" y="2793"/>
                      <a:pt x="1807" y="2793"/>
                      <a:pt x="1821" y="2790"/>
                    </a:cubicBezTo>
                    <a:cubicBezTo>
                      <a:pt x="1866" y="2782"/>
                      <a:pt x="1939" y="2779"/>
                      <a:pt x="1977" y="2752"/>
                    </a:cubicBezTo>
                    <a:cubicBezTo>
                      <a:pt x="1990" y="2743"/>
                      <a:pt x="2003" y="2734"/>
                      <a:pt x="2016" y="2725"/>
                    </a:cubicBezTo>
                    <a:cubicBezTo>
                      <a:pt x="2023" y="2720"/>
                      <a:pt x="2037" y="2726"/>
                      <a:pt x="2043" y="2721"/>
                    </a:cubicBezTo>
                    <a:cubicBezTo>
                      <a:pt x="2068" y="2699"/>
                      <a:pt x="2094" y="2677"/>
                      <a:pt x="2119" y="2655"/>
                    </a:cubicBezTo>
                    <a:cubicBezTo>
                      <a:pt x="2139" y="2638"/>
                      <a:pt x="2151" y="2621"/>
                      <a:pt x="2177" y="2619"/>
                    </a:cubicBezTo>
                    <a:cubicBezTo>
                      <a:pt x="2200" y="2617"/>
                      <a:pt x="2219" y="2569"/>
                      <a:pt x="2231" y="2551"/>
                    </a:cubicBezTo>
                    <a:cubicBezTo>
                      <a:pt x="2260" y="2507"/>
                      <a:pt x="2330" y="2480"/>
                      <a:pt x="2374" y="2453"/>
                    </a:cubicBezTo>
                    <a:cubicBezTo>
                      <a:pt x="2391" y="2442"/>
                      <a:pt x="2400" y="2412"/>
                      <a:pt x="2409" y="2396"/>
                    </a:cubicBezTo>
                    <a:cubicBezTo>
                      <a:pt x="2424" y="2369"/>
                      <a:pt x="2438" y="2343"/>
                      <a:pt x="2453" y="2316"/>
                    </a:cubicBezTo>
                    <a:cubicBezTo>
                      <a:pt x="2449" y="2316"/>
                      <a:pt x="2444" y="2316"/>
                      <a:pt x="2440" y="2316"/>
                    </a:cubicBezTo>
                    <a:cubicBezTo>
                      <a:pt x="2464" y="2273"/>
                      <a:pt x="2483" y="2220"/>
                      <a:pt x="2513" y="2181"/>
                    </a:cubicBezTo>
                    <a:cubicBezTo>
                      <a:pt x="2541" y="2144"/>
                      <a:pt x="2583" y="2111"/>
                      <a:pt x="2617" y="2080"/>
                    </a:cubicBezTo>
                    <a:cubicBezTo>
                      <a:pt x="2652" y="2046"/>
                      <a:pt x="2686" y="2021"/>
                      <a:pt x="2706" y="1977"/>
                    </a:cubicBezTo>
                    <a:cubicBezTo>
                      <a:pt x="2720" y="1946"/>
                      <a:pt x="2734" y="1914"/>
                      <a:pt x="2748" y="1883"/>
                    </a:cubicBezTo>
                    <a:cubicBezTo>
                      <a:pt x="2760" y="1856"/>
                      <a:pt x="2771" y="1849"/>
                      <a:pt x="2753" y="1825"/>
                    </a:cubicBezTo>
                    <a:cubicBezTo>
                      <a:pt x="2748" y="1818"/>
                      <a:pt x="2704" y="1853"/>
                      <a:pt x="2695" y="1859"/>
                    </a:cubicBezTo>
                    <a:cubicBezTo>
                      <a:pt x="2690" y="1862"/>
                      <a:pt x="2648" y="1812"/>
                      <a:pt x="2643" y="1807"/>
                    </a:cubicBezTo>
                    <a:cubicBezTo>
                      <a:pt x="2631" y="1794"/>
                      <a:pt x="2608" y="1778"/>
                      <a:pt x="2605" y="1761"/>
                    </a:cubicBezTo>
                    <a:cubicBezTo>
                      <a:pt x="2600" y="1732"/>
                      <a:pt x="2604" y="1699"/>
                      <a:pt x="2577" y="1687"/>
                    </a:cubicBezTo>
                    <a:cubicBezTo>
                      <a:pt x="2550" y="1674"/>
                      <a:pt x="2566" y="1651"/>
                      <a:pt x="2571" y="1624"/>
                    </a:cubicBezTo>
                    <a:cubicBezTo>
                      <a:pt x="2575" y="1599"/>
                      <a:pt x="2544" y="1609"/>
                      <a:pt x="2542" y="1583"/>
                    </a:cubicBezTo>
                    <a:cubicBezTo>
                      <a:pt x="2540" y="1559"/>
                      <a:pt x="2542" y="1540"/>
                      <a:pt x="2529" y="1520"/>
                    </a:cubicBezTo>
                    <a:cubicBezTo>
                      <a:pt x="2513" y="1494"/>
                      <a:pt x="2498" y="1469"/>
                      <a:pt x="2482" y="1444"/>
                    </a:cubicBezTo>
                    <a:cubicBezTo>
                      <a:pt x="2492" y="1443"/>
                      <a:pt x="2523" y="1434"/>
                      <a:pt x="2527" y="1444"/>
                    </a:cubicBezTo>
                    <a:cubicBezTo>
                      <a:pt x="2536" y="1470"/>
                      <a:pt x="2545" y="1496"/>
                      <a:pt x="2554" y="1521"/>
                    </a:cubicBezTo>
                    <a:cubicBezTo>
                      <a:pt x="2557" y="1529"/>
                      <a:pt x="2561" y="1537"/>
                      <a:pt x="2564" y="1544"/>
                    </a:cubicBezTo>
                    <a:cubicBezTo>
                      <a:pt x="2570" y="1555"/>
                      <a:pt x="2578" y="1553"/>
                      <a:pt x="2584" y="1561"/>
                    </a:cubicBezTo>
                    <a:cubicBezTo>
                      <a:pt x="2591" y="1572"/>
                      <a:pt x="2581" y="1576"/>
                      <a:pt x="2592" y="1587"/>
                    </a:cubicBezTo>
                    <a:cubicBezTo>
                      <a:pt x="2600" y="1593"/>
                      <a:pt x="2596" y="1604"/>
                      <a:pt x="2605" y="1611"/>
                    </a:cubicBezTo>
                    <a:cubicBezTo>
                      <a:pt x="2630" y="1629"/>
                      <a:pt x="2642" y="1693"/>
                      <a:pt x="2645" y="1721"/>
                    </a:cubicBezTo>
                    <a:cubicBezTo>
                      <a:pt x="2648" y="1740"/>
                      <a:pt x="2655" y="1754"/>
                      <a:pt x="2658" y="1767"/>
                    </a:cubicBezTo>
                    <a:cubicBezTo>
                      <a:pt x="2664" y="1786"/>
                      <a:pt x="2664" y="1808"/>
                      <a:pt x="2667" y="1828"/>
                    </a:cubicBezTo>
                    <a:cubicBezTo>
                      <a:pt x="2693" y="1811"/>
                      <a:pt x="2737" y="1794"/>
                      <a:pt x="2756" y="1770"/>
                    </a:cubicBezTo>
                    <a:cubicBezTo>
                      <a:pt x="2783" y="1736"/>
                      <a:pt x="2809" y="1701"/>
                      <a:pt x="2835" y="1667"/>
                    </a:cubicBezTo>
                    <a:cubicBezTo>
                      <a:pt x="2880" y="1608"/>
                      <a:pt x="2869" y="1522"/>
                      <a:pt x="2843" y="1459"/>
                    </a:cubicBezTo>
                    <a:cubicBezTo>
                      <a:pt x="2823" y="1486"/>
                      <a:pt x="2796" y="1517"/>
                      <a:pt x="2793" y="1463"/>
                    </a:cubicBezTo>
                    <a:cubicBezTo>
                      <a:pt x="2767" y="1488"/>
                      <a:pt x="2767" y="1420"/>
                      <a:pt x="2765" y="1409"/>
                    </a:cubicBezTo>
                    <a:cubicBezTo>
                      <a:pt x="2791" y="1401"/>
                      <a:pt x="2803" y="1435"/>
                      <a:pt x="2815" y="1451"/>
                    </a:cubicBezTo>
                    <a:moveTo>
                      <a:pt x="2754" y="1184"/>
                    </a:moveTo>
                    <a:cubicBezTo>
                      <a:pt x="2739" y="1173"/>
                      <a:pt x="2725" y="1162"/>
                      <a:pt x="2710" y="1151"/>
                    </a:cubicBezTo>
                    <a:cubicBezTo>
                      <a:pt x="2700" y="1143"/>
                      <a:pt x="2713" y="1112"/>
                      <a:pt x="2716" y="1102"/>
                    </a:cubicBezTo>
                    <a:cubicBezTo>
                      <a:pt x="2722" y="1083"/>
                      <a:pt x="2698" y="1070"/>
                      <a:pt x="2686" y="1061"/>
                    </a:cubicBezTo>
                    <a:cubicBezTo>
                      <a:pt x="2669" y="1047"/>
                      <a:pt x="2672" y="1030"/>
                      <a:pt x="2681" y="1011"/>
                    </a:cubicBezTo>
                    <a:cubicBezTo>
                      <a:pt x="2695" y="1019"/>
                      <a:pt x="2702" y="1033"/>
                      <a:pt x="2710" y="1047"/>
                    </a:cubicBezTo>
                    <a:cubicBezTo>
                      <a:pt x="2718" y="1061"/>
                      <a:pt x="2740" y="1075"/>
                      <a:pt x="2741" y="1086"/>
                    </a:cubicBezTo>
                    <a:cubicBezTo>
                      <a:pt x="2743" y="1109"/>
                      <a:pt x="2787" y="1172"/>
                      <a:pt x="2754" y="1184"/>
                    </a:cubicBezTo>
                  </a:path>
                </a:pathLst>
              </a:custGeom>
              <a:gradFill rotWithShape="1">
                <a:gsLst>
                  <a:gs pos="0">
                    <a:schemeClr val="hlink"/>
                  </a:gs>
                  <a:gs pos="100000">
                    <a:schemeClr val="accent2"/>
                  </a:gs>
                </a:gsLst>
                <a:path path="rect">
                  <a:fillToRect l="50000" t="50000" r="50000" b="50000"/>
                </a:path>
              </a:gradFill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76" name="WordArt 109"/>
            <p:cNvSpPr>
              <a:spLocks noChangeArrowheads="1" noChangeShapeType="1" noTextEdit="1"/>
            </p:cNvSpPr>
            <p:nvPr/>
          </p:nvSpPr>
          <p:spPr bwMode="gray">
            <a:xfrm rot="3175226">
              <a:off x="1884" y="2599"/>
              <a:ext cx="698" cy="257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dist="35921" dir="2700000" algn="ctr" rotWithShape="0">
                      <a:srgbClr val="000000"/>
                    </a:outerShdw>
                  </a:effectLst>
                  <a:latin typeface="Arial Black"/>
                </a:rPr>
                <a:t>30+ Years</a:t>
              </a:r>
            </a:p>
          </p:txBody>
        </p:sp>
        <p:sp>
          <p:nvSpPr>
            <p:cNvPr id="77" name="WordArt 108"/>
            <p:cNvSpPr>
              <a:spLocks noChangeArrowheads="1" noChangeShapeType="1" noTextEdit="1"/>
            </p:cNvSpPr>
            <p:nvPr/>
          </p:nvSpPr>
          <p:spPr bwMode="gray">
            <a:xfrm rot="611794">
              <a:off x="1020" y="3469"/>
              <a:ext cx="919" cy="257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dist="35921" dir="2700000" algn="ctr" rotWithShape="0">
                      <a:srgbClr val="000000"/>
                    </a:outerShdw>
                  </a:effectLst>
                  <a:latin typeface="Arial Black"/>
                </a:rPr>
                <a:t>400+ Cli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3405931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5"/>
          <p:cNvSpPr>
            <a:spLocks noGrp="1"/>
          </p:cNvSpPr>
          <p:nvPr>
            <p:ph type="title"/>
          </p:nvPr>
        </p:nvSpPr>
        <p:spPr bwMode="auto">
          <a:xfrm>
            <a:off x="361950" y="152400"/>
            <a:ext cx="8423275" cy="541338"/>
          </a:xfrm>
          <a:noFill/>
          <a:ln>
            <a:miter lim="800000"/>
            <a:headEnd/>
            <a:tailEnd/>
          </a:ln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MISYS </a:t>
            </a:r>
            <a:r>
              <a:rPr lang="ru-RU" dirty="0" smtClean="0"/>
              <a:t>сегодня</a:t>
            </a:r>
            <a:endParaRPr lang="en-US" dirty="0" smtClean="0"/>
          </a:p>
        </p:txBody>
      </p:sp>
      <p:sp>
        <p:nvSpPr>
          <p:cNvPr id="1048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DF02784-1137-4745-A6CB-C1B66AC9FB03}" type="slidenum">
              <a:rPr lang="en-GB" smtClean="0">
                <a:ea typeface="MS PGothic" pitchFamily="34" charset="-128"/>
              </a:rPr>
              <a:pPr/>
              <a:t>22</a:t>
            </a:fld>
            <a:endParaRPr lang="en-GB" dirty="0" smtClean="0">
              <a:ea typeface="MS PGothic" pitchFamily="34" charset="-128"/>
            </a:endParaRPr>
          </a:p>
        </p:txBody>
      </p:sp>
      <p:graphicFrame>
        <p:nvGraphicFramePr>
          <p:cNvPr id="1026" name="Chart 7" descr="&lt;tags&gt;&lt;tag n=&quot;AppId&quot; v=&quot;1&quot; /&gt;&lt;tag n=&quot;Type&quot; v=&quot;0&quot; /&gt;&lt;tag n=&quot;TimeStamp&quot; v=&quot;2014-03-31 13:18:20&quot; /&gt;&lt;/tags&gt;"/>
          <p:cNvGraphicFramePr>
            <a:graphicFrameLocks/>
          </p:cNvGraphicFramePr>
          <p:nvPr/>
        </p:nvGraphicFramePr>
        <p:xfrm>
          <a:off x="5848350" y="1390650"/>
          <a:ext cx="3838575" cy="2114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Chart" r:id="rId5" imgW="3838643" imgH="2114550" progId="Excel.Sheet.8">
                  <p:embed/>
                </p:oleObj>
              </mc:Choice>
              <mc:Fallback>
                <p:oleObj name="Chart" r:id="rId5" imgW="3838643" imgH="211455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48350" y="1390650"/>
                        <a:ext cx="3838575" cy="2114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360363" y="1077913"/>
            <a:ext cx="2519362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1029" name="Picture 46" descr="Bildschirmfoto 2014-05-05 um 09.58.1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76588" y="1474788"/>
            <a:ext cx="3937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8" name="Straight Connector 27"/>
          <p:cNvCxnSpPr/>
          <p:nvPr/>
        </p:nvCxnSpPr>
        <p:spPr>
          <a:xfrm>
            <a:off x="360363" y="1436688"/>
            <a:ext cx="251936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31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3240088" y="1077913"/>
            <a:ext cx="2519362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3240088" y="1436688"/>
            <a:ext cx="251936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033" name="Picture 36" descr="Misys_Logo_strap_90Black.png"/>
          <p:cNvPicPr>
            <a:picLocks noChangeAspect="1"/>
          </p:cNvPicPr>
          <p:nvPr/>
        </p:nvPicPr>
        <p:blipFill>
          <a:blip r:embed="rId8"/>
          <a:srcRect r="70967"/>
          <a:stretch>
            <a:fillRect/>
          </a:stretch>
        </p:blipFill>
        <p:spPr bwMode="auto">
          <a:xfrm>
            <a:off x="360363" y="1546225"/>
            <a:ext cx="266700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" name="TextBox 16"/>
          <p:cNvSpPr txBox="1">
            <a:spLocks noChangeArrowheads="1"/>
          </p:cNvSpPr>
          <p:nvPr/>
        </p:nvSpPr>
        <p:spPr bwMode="auto">
          <a:xfrm>
            <a:off x="720725" y="1546225"/>
            <a:ext cx="21288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28663">
              <a:tabLst>
                <a:tab pos="4286250" algn="l"/>
              </a:tabLst>
            </a:pPr>
            <a:r>
              <a:rPr lang="ru-RU" sz="1200">
                <a:cs typeface="Arial" pitchFamily="34" charset="0"/>
              </a:rPr>
              <a:t>Мировой лидер на рынке финансового ПО</a:t>
            </a:r>
            <a:endParaRPr lang="en-GB" sz="1200">
              <a:cs typeface="Arial" pitchFamily="34" charset="0"/>
            </a:endParaRPr>
          </a:p>
        </p:txBody>
      </p:sp>
      <p:sp>
        <p:nvSpPr>
          <p:cNvPr id="1035" name="Rectangle 18"/>
          <p:cNvSpPr>
            <a:spLocks noChangeArrowheads="1"/>
          </p:cNvSpPr>
          <p:nvPr/>
        </p:nvSpPr>
        <p:spPr bwMode="auto">
          <a:xfrm>
            <a:off x="720725" y="1938338"/>
            <a:ext cx="2273300" cy="98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28663">
              <a:tabLst>
                <a:tab pos="4286250" algn="l"/>
              </a:tabLst>
            </a:pPr>
            <a:r>
              <a:rPr lang="en-US" sz="3200">
                <a:solidFill>
                  <a:srgbClr val="6B5DA5"/>
                </a:solidFill>
                <a:cs typeface="Arial" pitchFamily="34" charset="0"/>
              </a:rPr>
              <a:t>4,500+</a:t>
            </a:r>
            <a:r>
              <a:rPr lang="en-US" sz="1200">
                <a:solidFill>
                  <a:srgbClr val="6B5DA5"/>
                </a:solidFill>
                <a:cs typeface="Arial" pitchFamily="34" charset="0"/>
              </a:rPr>
              <a:t> </a:t>
            </a:r>
            <a:r>
              <a:rPr lang="ru-RU" sz="1200">
                <a:cs typeface="Arial" pitchFamily="34" charset="0"/>
              </a:rPr>
              <a:t>сотрудников</a:t>
            </a:r>
            <a:r>
              <a:rPr lang="en-US" sz="1200">
                <a:cs typeface="Arial" pitchFamily="34" charset="0"/>
              </a:rPr>
              <a:t> </a:t>
            </a:r>
          </a:p>
          <a:p>
            <a:pPr defTabSz="728663">
              <a:tabLst>
                <a:tab pos="4286250" algn="l"/>
              </a:tabLst>
            </a:pPr>
            <a:r>
              <a:rPr lang="en-US" sz="3200">
                <a:solidFill>
                  <a:srgbClr val="6B5DA5"/>
                </a:solidFill>
                <a:cs typeface="Arial" pitchFamily="34" charset="0"/>
              </a:rPr>
              <a:t>40+</a:t>
            </a:r>
            <a:r>
              <a:rPr lang="en-US" sz="1200">
                <a:solidFill>
                  <a:srgbClr val="6B5DA5"/>
                </a:solidFill>
                <a:cs typeface="Arial" pitchFamily="34" charset="0"/>
              </a:rPr>
              <a:t> </a:t>
            </a:r>
            <a:r>
              <a:rPr lang="ru-RU" sz="1200">
                <a:cs typeface="Arial" pitchFamily="34" charset="0"/>
              </a:rPr>
              <a:t>стран</a:t>
            </a:r>
            <a:endParaRPr lang="en-GB">
              <a:cs typeface="Arial" pitchFamily="34" charset="0"/>
            </a:endParaRPr>
          </a:p>
        </p:txBody>
      </p:sp>
      <p:sp>
        <p:nvSpPr>
          <p:cNvPr id="1036" name="Rectangle 22"/>
          <p:cNvSpPr>
            <a:spLocks noChangeArrowheads="1"/>
          </p:cNvSpPr>
          <p:nvPr/>
        </p:nvSpPr>
        <p:spPr bwMode="auto">
          <a:xfrm>
            <a:off x="2471738" y="2725738"/>
            <a:ext cx="4572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pitchFamily="34" charset="0"/>
              <a:buNone/>
            </a:pPr>
            <a:endParaRPr lang="en-GB" sz="1400">
              <a:cs typeface="Arial" pitchFamily="34" charset="0"/>
            </a:endParaRPr>
          </a:p>
        </p:txBody>
      </p:sp>
      <p:sp>
        <p:nvSpPr>
          <p:cNvPr id="1037" name="TextBox 37"/>
          <p:cNvSpPr txBox="1">
            <a:spLocks noChangeArrowheads="1"/>
          </p:cNvSpPr>
          <p:nvPr/>
        </p:nvSpPr>
        <p:spPr bwMode="auto">
          <a:xfrm>
            <a:off x="3630613" y="1539875"/>
            <a:ext cx="2708275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Font typeface="Arial" pitchFamily="34" charset="0"/>
              <a:buNone/>
            </a:pPr>
            <a:r>
              <a:rPr lang="ru-RU" sz="1200" dirty="0">
                <a:cs typeface="Arial" pitchFamily="34" charset="0"/>
              </a:rPr>
              <a:t>Один из наиболее широких и разнообразных портфелей продуктов на рынке программных решений для финансовой сферы.</a:t>
            </a:r>
            <a:r>
              <a:rPr lang="de-DE" sz="1200" dirty="0">
                <a:cs typeface="Arial" pitchFamily="34" charset="0"/>
              </a:rPr>
              <a:t> </a:t>
            </a:r>
            <a:br>
              <a:rPr lang="de-DE" sz="1200" dirty="0">
                <a:cs typeface="Arial" pitchFamily="34" charset="0"/>
              </a:rPr>
            </a:br>
            <a:r>
              <a:rPr lang="ru-RU" sz="1200" dirty="0">
                <a:cs typeface="Arial" pitchFamily="34" charset="0"/>
              </a:rPr>
              <a:t>Решения для розничного и корпоративного банкинга, кредитования (вкл. </a:t>
            </a:r>
            <a:r>
              <a:rPr lang="en-GB" sz="1200" dirty="0">
                <a:cs typeface="Arial" pitchFamily="34" charset="0"/>
              </a:rPr>
              <a:t>c</a:t>
            </a:r>
            <a:r>
              <a:rPr lang="ru-RU" sz="1200" dirty="0" smtClean="0">
                <a:cs typeface="Arial" pitchFamily="34" charset="0"/>
              </a:rPr>
              <a:t>индициро</a:t>
            </a:r>
            <a:r>
              <a:rPr lang="en-GB" sz="1200" dirty="0" smtClean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ванное</a:t>
            </a:r>
            <a:r>
              <a:rPr lang="ru-RU" sz="1200" dirty="0">
                <a:cs typeface="Arial" pitchFamily="34" charset="0"/>
              </a:rPr>
              <a:t>), казначейских рынков и рынков капитала, комплексного управления рисками и т.д. </a:t>
            </a:r>
            <a:endParaRPr lang="en-GB" sz="1200" dirty="0">
              <a:cs typeface="Arial" pitchFamily="34" charset="0"/>
            </a:endParaRPr>
          </a:p>
        </p:txBody>
      </p:sp>
      <p:sp>
        <p:nvSpPr>
          <p:cNvPr id="1038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6265863" y="1077913"/>
            <a:ext cx="2519362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ru-RU" altLang="ja-JP" sz="1600">
                <a:solidFill>
                  <a:schemeClr val="tx2"/>
                </a:solidFill>
                <a:cs typeface="Arial" pitchFamily="34" charset="0"/>
              </a:rPr>
              <a:t>Клиентская база</a:t>
            </a:r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6265863" y="1436688"/>
            <a:ext cx="2519362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40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360363" y="3160713"/>
            <a:ext cx="2519362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ru-RU" altLang="ja-JP" sz="1600">
                <a:solidFill>
                  <a:schemeClr val="tx2"/>
                </a:solidFill>
                <a:cs typeface="Arial" pitchFamily="34" charset="0"/>
              </a:rPr>
              <a:t>Клиентская база</a:t>
            </a:r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360363" y="3519488"/>
            <a:ext cx="8318500" cy="0"/>
          </a:xfrm>
          <a:prstGeom prst="line">
            <a:avLst/>
          </a:prstGeom>
          <a:ln w="12700" cap="rnd">
            <a:solidFill>
              <a:schemeClr val="tx1"/>
            </a:solidFill>
            <a:prstDash val="sysDot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1042" name="Group 115"/>
          <p:cNvGrpSpPr>
            <a:grpSpLocks/>
          </p:cNvGrpSpPr>
          <p:nvPr/>
        </p:nvGrpSpPr>
        <p:grpSpPr bwMode="auto">
          <a:xfrm>
            <a:off x="342900" y="3756025"/>
            <a:ext cx="1441450" cy="677863"/>
            <a:chOff x="342337" y="3755465"/>
            <a:chExt cx="1441588" cy="677546"/>
          </a:xfrm>
        </p:grpSpPr>
        <p:sp>
          <p:nvSpPr>
            <p:cNvPr id="1087" name="Rectangle 47"/>
            <p:cNvSpPr>
              <a:spLocks noChangeArrowheads="1"/>
            </p:cNvSpPr>
            <p:nvPr/>
          </p:nvSpPr>
          <p:spPr bwMode="auto">
            <a:xfrm>
              <a:off x="720000" y="3755465"/>
              <a:ext cx="1063925" cy="677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en-US" sz="3200">
                  <a:solidFill>
                    <a:srgbClr val="6B5DA5"/>
                  </a:solidFill>
                  <a:cs typeface="Arial" pitchFamily="34" charset="0"/>
                </a:rPr>
                <a:t>2</a:t>
              </a:r>
              <a:r>
                <a:rPr lang="ru-RU" sz="3200">
                  <a:solidFill>
                    <a:srgbClr val="6B5DA5"/>
                  </a:solidFill>
                  <a:cs typeface="Arial" pitchFamily="34" charset="0"/>
                </a:rPr>
                <a:t>000</a:t>
              </a:r>
              <a:r>
                <a:rPr lang="en-US" sz="1200">
                  <a:solidFill>
                    <a:srgbClr val="6B5DA5"/>
                  </a:solidFill>
                  <a:cs typeface="Arial" pitchFamily="34" charset="0"/>
                </a:rPr>
                <a:t> </a:t>
              </a:r>
              <a:r>
                <a:rPr lang="ru-RU" sz="1200">
                  <a:cs typeface="Arial" pitchFamily="34" charset="0"/>
                </a:rPr>
                <a:t>клиентов</a:t>
              </a:r>
              <a:endParaRPr lang="en-US" sz="1200">
                <a:cs typeface="Arial" pitchFamily="34" charset="0"/>
              </a:endParaRPr>
            </a:p>
          </p:txBody>
        </p:sp>
        <p:grpSp>
          <p:nvGrpSpPr>
            <p:cNvPr id="1088" name="Group 48"/>
            <p:cNvGrpSpPr>
              <a:grpSpLocks/>
            </p:cNvGrpSpPr>
            <p:nvPr/>
          </p:nvGrpSpPr>
          <p:grpSpPr bwMode="auto">
            <a:xfrm>
              <a:off x="342337" y="3766690"/>
              <a:ext cx="286589" cy="368178"/>
              <a:chOff x="342337" y="3708407"/>
              <a:chExt cx="286589" cy="368178"/>
            </a:xfrm>
          </p:grpSpPr>
          <p:sp>
            <p:nvSpPr>
              <p:cNvPr id="26" name="Flowchart: Delay 25"/>
              <p:cNvSpPr/>
              <p:nvPr/>
            </p:nvSpPr>
            <p:spPr>
              <a:xfrm rot="16200000">
                <a:off x="373359" y="3820076"/>
                <a:ext cx="225320" cy="287365"/>
              </a:xfrm>
              <a:prstGeom prst="flowChartDelay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389966" y="3708290"/>
                <a:ext cx="192106" cy="190411"/>
              </a:xfrm>
              <a:prstGeom prst="ellipse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</p:grpSp>
      </p:grpSp>
      <p:grpSp>
        <p:nvGrpSpPr>
          <p:cNvPr id="1043" name="Group 117"/>
          <p:cNvGrpSpPr>
            <a:grpSpLocks/>
          </p:cNvGrpSpPr>
          <p:nvPr/>
        </p:nvGrpSpPr>
        <p:grpSpPr bwMode="auto">
          <a:xfrm>
            <a:off x="6735763" y="3752850"/>
            <a:ext cx="2198687" cy="793750"/>
            <a:chOff x="6802955" y="3753353"/>
            <a:chExt cx="2199838" cy="794046"/>
          </a:xfrm>
        </p:grpSpPr>
        <p:sp>
          <p:nvSpPr>
            <p:cNvPr id="1079" name="Rectangle 59"/>
            <p:cNvSpPr>
              <a:spLocks noChangeArrowheads="1"/>
            </p:cNvSpPr>
            <p:nvPr/>
          </p:nvSpPr>
          <p:spPr bwMode="auto">
            <a:xfrm>
              <a:off x="7159131" y="3753353"/>
              <a:ext cx="571994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en-US" sz="3200">
                  <a:solidFill>
                    <a:srgbClr val="6B5DA5"/>
                  </a:solidFill>
                  <a:cs typeface="Arial" pitchFamily="34" charset="0"/>
                </a:rPr>
                <a:t>16</a:t>
              </a:r>
              <a:endParaRPr lang="en-US" sz="1200">
                <a:cs typeface="Arial" pitchFamily="34" charset="0"/>
              </a:endParaRPr>
            </a:p>
          </p:txBody>
        </p:sp>
        <p:sp>
          <p:nvSpPr>
            <p:cNvPr id="1080" name="TextBox 68"/>
            <p:cNvSpPr txBox="1">
              <a:spLocks noChangeArrowheads="1"/>
            </p:cNvSpPr>
            <p:nvPr/>
          </p:nvSpPr>
          <p:spPr bwMode="auto">
            <a:xfrm>
              <a:off x="7645399" y="3808856"/>
              <a:ext cx="1357394" cy="7385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ru-RU" sz="1200">
                  <a:cs typeface="Arial" pitchFamily="34" charset="0"/>
                </a:rPr>
                <a:t>из 25 крупнейших организаторов</a:t>
              </a:r>
            </a:p>
            <a:p>
              <a:pPr defTabSz="728663">
                <a:tabLst>
                  <a:tab pos="4286250" algn="l"/>
                </a:tabLst>
              </a:pPr>
              <a:r>
                <a:rPr lang="ru-RU" sz="1200">
                  <a:cs typeface="Arial" pitchFamily="34" charset="0"/>
                </a:rPr>
                <a:t>синдицированных займов</a:t>
              </a:r>
              <a:endParaRPr lang="en-GB" sz="1200">
                <a:cs typeface="Arial" pitchFamily="34" charset="0"/>
              </a:endParaRPr>
            </a:p>
          </p:txBody>
        </p:sp>
        <p:grpSp>
          <p:nvGrpSpPr>
            <p:cNvPr id="1081" name="Group 77"/>
            <p:cNvGrpSpPr>
              <a:grpSpLocks/>
            </p:cNvGrpSpPr>
            <p:nvPr/>
          </p:nvGrpSpPr>
          <p:grpSpPr bwMode="auto">
            <a:xfrm>
              <a:off x="6802955" y="3756039"/>
              <a:ext cx="335586" cy="378829"/>
              <a:chOff x="6263205" y="3719449"/>
              <a:chExt cx="335586" cy="378829"/>
            </a:xfrm>
          </p:grpSpPr>
          <p:cxnSp>
            <p:nvCxnSpPr>
              <p:cNvPr id="74" name="Straight Connector 73"/>
              <p:cNvCxnSpPr>
                <a:stCxn id="70" idx="2"/>
                <a:endCxn id="72" idx="0"/>
              </p:cNvCxnSpPr>
              <p:nvPr/>
            </p:nvCxnSpPr>
            <p:spPr>
              <a:xfrm>
                <a:off x="6429979" y="3818401"/>
                <a:ext cx="1589" cy="242978"/>
              </a:xfrm>
              <a:prstGeom prst="line">
                <a:avLst/>
              </a:prstGeom>
              <a:ln w="15875" cap="rnd" cmpd="sng">
                <a:solidFill>
                  <a:schemeClr val="tx1"/>
                </a:solidFill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Flowchart: Decision 69"/>
              <p:cNvSpPr/>
              <p:nvPr/>
            </p:nvSpPr>
            <p:spPr>
              <a:xfrm>
                <a:off x="6264793" y="3719939"/>
                <a:ext cx="330373" cy="98462"/>
              </a:xfrm>
              <a:prstGeom prst="flowChartDecision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6263205" y="3988327"/>
                <a:ext cx="333550" cy="34938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6264793" y="4061379"/>
                <a:ext cx="333550" cy="36526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76" name="Flowchart: Decision 75"/>
              <p:cNvSpPr/>
              <p:nvPr/>
            </p:nvSpPr>
            <p:spPr>
              <a:xfrm>
                <a:off x="6269558" y="3858104"/>
                <a:ext cx="328784" cy="95285"/>
              </a:xfrm>
              <a:prstGeom prst="flowChartDecision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</p:grpSp>
      </p:grpSp>
      <p:grpSp>
        <p:nvGrpSpPr>
          <p:cNvPr id="1044" name="Group 94"/>
          <p:cNvGrpSpPr>
            <a:grpSpLocks/>
          </p:cNvGrpSpPr>
          <p:nvPr/>
        </p:nvGrpSpPr>
        <p:grpSpPr bwMode="auto">
          <a:xfrm>
            <a:off x="6218238" y="1255713"/>
            <a:ext cx="360362" cy="822325"/>
            <a:chOff x="3526701" y="4159803"/>
            <a:chExt cx="358816" cy="822599"/>
          </a:xfrm>
        </p:grpSpPr>
        <p:sp>
          <p:nvSpPr>
            <p:cNvPr id="86" name="Oval 85"/>
            <p:cNvSpPr/>
            <p:nvPr/>
          </p:nvSpPr>
          <p:spPr>
            <a:xfrm>
              <a:off x="3572540" y="4439296"/>
              <a:ext cx="267137" cy="268376"/>
            </a:xfrm>
            <a:prstGeom prst="ellipse">
              <a:avLst/>
            </a:prstGeom>
            <a:ln w="158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dirty="0"/>
                <a:t>    </a:t>
              </a:r>
            </a:p>
          </p:txBody>
        </p:sp>
        <p:sp>
          <p:nvSpPr>
            <p:cNvPr id="87" name="Oval 86"/>
            <p:cNvSpPr/>
            <p:nvPr/>
          </p:nvSpPr>
          <p:spPr>
            <a:xfrm>
              <a:off x="3646833" y="4439296"/>
              <a:ext cx="120132" cy="268376"/>
            </a:xfrm>
            <a:prstGeom prst="ellipse">
              <a:avLst/>
            </a:prstGeom>
            <a:ln w="158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dirty="0"/>
                <a:t>    </a:t>
              </a:r>
            </a:p>
          </p:txBody>
        </p:sp>
        <p:cxnSp>
          <p:nvCxnSpPr>
            <p:cNvPr id="89" name="Straight Connector 88"/>
            <p:cNvCxnSpPr>
              <a:stCxn id="86" idx="2"/>
              <a:endCxn id="86" idx="6"/>
            </p:cNvCxnSpPr>
            <p:nvPr/>
          </p:nvCxnSpPr>
          <p:spPr>
            <a:xfrm>
              <a:off x="3572540" y="4574278"/>
              <a:ext cx="267137" cy="0"/>
            </a:xfrm>
            <a:prstGeom prst="line">
              <a:avLst/>
            </a:prstGeom>
            <a:ln w="15875" cap="rnd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>
              <a:stCxn id="87" idx="0"/>
              <a:endCxn id="87" idx="4"/>
            </p:cNvCxnSpPr>
            <p:nvPr/>
          </p:nvCxnSpPr>
          <p:spPr>
            <a:xfrm>
              <a:off x="3706900" y="4439296"/>
              <a:ext cx="0" cy="268376"/>
            </a:xfrm>
            <a:prstGeom prst="line">
              <a:avLst/>
            </a:prstGeom>
            <a:ln w="15875" cap="rnd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Arc 92"/>
            <p:cNvSpPr/>
            <p:nvPr/>
          </p:nvSpPr>
          <p:spPr>
            <a:xfrm rot="8100000">
              <a:off x="3526701" y="4159803"/>
              <a:ext cx="358816" cy="363658"/>
            </a:xfrm>
            <a:prstGeom prst="arc">
              <a:avLst>
                <a:gd name="adj1" fmla="val 16968342"/>
                <a:gd name="adj2" fmla="val 20878180"/>
              </a:avLst>
            </a:prstGeom>
            <a:ln w="15875" cap="rnd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/>
            </a:p>
          </p:txBody>
        </p:sp>
        <p:sp>
          <p:nvSpPr>
            <p:cNvPr id="94" name="Arc 93"/>
            <p:cNvSpPr/>
            <p:nvPr/>
          </p:nvSpPr>
          <p:spPr>
            <a:xfrm rot="18900000">
              <a:off x="3526701" y="4618743"/>
              <a:ext cx="358816" cy="363659"/>
            </a:xfrm>
            <a:prstGeom prst="arc">
              <a:avLst>
                <a:gd name="adj1" fmla="val 16949711"/>
                <a:gd name="adj2" fmla="val 20863286"/>
              </a:avLst>
            </a:prstGeom>
            <a:ln w="15875" cap="rnd" cmpd="sng">
              <a:solidFill>
                <a:schemeClr val="tx1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/>
            </a:p>
          </p:txBody>
        </p:sp>
      </p:grpSp>
      <p:grpSp>
        <p:nvGrpSpPr>
          <p:cNvPr id="1045" name="Group 114"/>
          <p:cNvGrpSpPr>
            <a:grpSpLocks/>
          </p:cNvGrpSpPr>
          <p:nvPr/>
        </p:nvGrpSpPr>
        <p:grpSpPr bwMode="auto">
          <a:xfrm>
            <a:off x="4275138" y="3430588"/>
            <a:ext cx="2168525" cy="1069975"/>
            <a:chOff x="4096182" y="4049305"/>
            <a:chExt cx="2168298" cy="1070449"/>
          </a:xfrm>
        </p:grpSpPr>
        <p:sp>
          <p:nvSpPr>
            <p:cNvPr id="1061" name="Rectangle 79"/>
            <p:cNvSpPr>
              <a:spLocks noChangeArrowheads="1"/>
            </p:cNvSpPr>
            <p:nvPr/>
          </p:nvSpPr>
          <p:spPr bwMode="auto">
            <a:xfrm>
              <a:off x="4548618" y="4377722"/>
              <a:ext cx="478418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en-US" sz="3200">
                  <a:solidFill>
                    <a:srgbClr val="6B5DA5"/>
                  </a:solidFill>
                  <a:cs typeface="Arial" pitchFamily="34" charset="0"/>
                </a:rPr>
                <a:t>12</a:t>
              </a:r>
              <a:endParaRPr lang="en-US" sz="1200">
                <a:cs typeface="Arial" pitchFamily="34" charset="0"/>
              </a:endParaRPr>
            </a:p>
          </p:txBody>
        </p:sp>
        <p:sp>
          <p:nvSpPr>
            <p:cNvPr id="1062" name="TextBox 83"/>
            <p:cNvSpPr txBox="1">
              <a:spLocks noChangeArrowheads="1"/>
            </p:cNvSpPr>
            <p:nvPr/>
          </p:nvSpPr>
          <p:spPr bwMode="auto">
            <a:xfrm>
              <a:off x="5068598" y="4443936"/>
              <a:ext cx="1195882" cy="5542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ru-RU" sz="1200">
                  <a:cs typeface="Arial" pitchFamily="34" charset="0"/>
                </a:rPr>
                <a:t>из 20 крупнейших инвестфондов</a:t>
              </a:r>
              <a:endParaRPr lang="en-GB" sz="1200">
                <a:cs typeface="Arial" pitchFamily="34" charset="0"/>
              </a:endParaRPr>
            </a:p>
          </p:txBody>
        </p:sp>
        <p:grpSp>
          <p:nvGrpSpPr>
            <p:cNvPr id="1063" name="Group 111"/>
            <p:cNvGrpSpPr>
              <a:grpSpLocks/>
            </p:cNvGrpSpPr>
            <p:nvPr/>
          </p:nvGrpSpPr>
          <p:grpSpPr bwMode="auto">
            <a:xfrm>
              <a:off x="4096182" y="4049305"/>
              <a:ext cx="466928" cy="1070449"/>
              <a:chOff x="3163441" y="4050402"/>
              <a:chExt cx="466928" cy="1070449"/>
            </a:xfrm>
          </p:grpSpPr>
          <p:grpSp>
            <p:nvGrpSpPr>
              <p:cNvPr id="1064" name="Group 103"/>
              <p:cNvGrpSpPr>
                <a:grpSpLocks/>
              </p:cNvGrpSpPr>
              <p:nvPr/>
            </p:nvGrpSpPr>
            <p:grpSpPr bwMode="auto">
              <a:xfrm>
                <a:off x="3163441" y="4050402"/>
                <a:ext cx="466928" cy="1070449"/>
                <a:chOff x="3526701" y="4159803"/>
                <a:chExt cx="358816" cy="822599"/>
              </a:xfrm>
            </p:grpSpPr>
            <p:sp>
              <p:nvSpPr>
                <p:cNvPr id="105" name="Oval 104"/>
                <p:cNvSpPr/>
                <p:nvPr/>
              </p:nvSpPr>
              <p:spPr>
                <a:xfrm>
                  <a:off x="3571833" y="4439291"/>
                  <a:ext cx="268357" cy="268504"/>
                </a:xfrm>
                <a:prstGeom prst="ellips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GB" dirty="0"/>
                    <a:t>    </a:t>
                  </a:r>
                </a:p>
              </p:txBody>
            </p:sp>
            <p:sp>
              <p:nvSpPr>
                <p:cNvPr id="106" name="Oval 105"/>
                <p:cNvSpPr/>
                <p:nvPr/>
              </p:nvSpPr>
              <p:spPr>
                <a:xfrm>
                  <a:off x="3646242" y="4439291"/>
                  <a:ext cx="119541" cy="268504"/>
                </a:xfrm>
                <a:prstGeom prst="ellips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GB" dirty="0"/>
                    <a:t>    </a:t>
                  </a:r>
                </a:p>
              </p:txBody>
            </p:sp>
            <p:cxnSp>
              <p:nvCxnSpPr>
                <p:cNvPr id="107" name="Straight Connector 106"/>
                <p:cNvCxnSpPr>
                  <a:stCxn id="105" idx="2"/>
                  <a:endCxn id="105" idx="6"/>
                </p:cNvCxnSpPr>
                <p:nvPr/>
              </p:nvCxnSpPr>
              <p:spPr>
                <a:xfrm>
                  <a:off x="3571833" y="4573543"/>
                  <a:ext cx="268357" cy="0"/>
                </a:xfrm>
                <a:prstGeom prst="line">
                  <a:avLst/>
                </a:prstGeom>
                <a:ln w="15875" cap="rnd" cmpd="sng">
                  <a:solidFill>
                    <a:schemeClr val="tx1"/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/>
                <p:cNvCxnSpPr>
                  <a:stCxn id="106" idx="0"/>
                  <a:endCxn id="106" idx="4"/>
                </p:cNvCxnSpPr>
                <p:nvPr/>
              </p:nvCxnSpPr>
              <p:spPr>
                <a:xfrm>
                  <a:off x="3706012" y="4439291"/>
                  <a:ext cx="0" cy="268504"/>
                </a:xfrm>
                <a:prstGeom prst="line">
                  <a:avLst/>
                </a:prstGeom>
                <a:ln w="15875" cap="rnd" cmpd="sng">
                  <a:solidFill>
                    <a:schemeClr val="tx1"/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Arc 108"/>
                <p:cNvSpPr/>
                <p:nvPr/>
              </p:nvSpPr>
              <p:spPr>
                <a:xfrm rot="8100000">
                  <a:off x="3526701" y="4159803"/>
                  <a:ext cx="358622" cy="363701"/>
                </a:xfrm>
                <a:prstGeom prst="arc">
                  <a:avLst>
                    <a:gd name="adj1" fmla="val 16968342"/>
                    <a:gd name="adj2" fmla="val 20878180"/>
                  </a:avLst>
                </a:prstGeom>
                <a:ln w="15875" cap="rnd" cmpd="sng">
                  <a:solidFill>
                    <a:schemeClr val="tx1"/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  <p:sp>
              <p:nvSpPr>
                <p:cNvPr id="110" name="Arc 109"/>
                <p:cNvSpPr/>
                <p:nvPr/>
              </p:nvSpPr>
              <p:spPr>
                <a:xfrm rot="18900000">
                  <a:off x="3526701" y="4618701"/>
                  <a:ext cx="358622" cy="363701"/>
                </a:xfrm>
                <a:prstGeom prst="arc">
                  <a:avLst>
                    <a:gd name="adj1" fmla="val 16949711"/>
                    <a:gd name="adj2" fmla="val 20863286"/>
                  </a:avLst>
                </a:prstGeom>
                <a:ln w="15875" cap="rnd" cmpd="sng">
                  <a:solidFill>
                    <a:schemeClr val="tx1"/>
                  </a:solidFill>
                  <a:prstDash val="soli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sp>
            <p:nvSpPr>
              <p:cNvPr id="103" name="TextBox 102"/>
              <p:cNvSpPr txBox="1"/>
              <p:nvPr/>
            </p:nvSpPr>
            <p:spPr>
              <a:xfrm>
                <a:off x="3316401" y="4404114"/>
                <a:ext cx="171522" cy="369332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defTabSz="728663">
                  <a:tabLst>
                    <a:tab pos="4286250" algn="l"/>
                  </a:tabLst>
                  <a:defRPr/>
                </a:pPr>
                <a:r>
                  <a:rPr lang="en-GB" sz="2400" b="1" dirty="0">
                    <a:ln w="38100">
                      <a:solidFill>
                        <a:schemeClr val="bg1"/>
                      </a:solidFill>
                    </a:ln>
                    <a:ea typeface="ＭＳ Ｐゴシック" pitchFamily="34" charset="-128"/>
                    <a:cs typeface="Arial" pitchFamily="34" charset="0"/>
                  </a:rPr>
                  <a:t>$</a:t>
                </a:r>
              </a:p>
            </p:txBody>
          </p:sp>
          <p:sp>
            <p:nvSpPr>
              <p:cNvPr id="1066" name="TextBox 110"/>
              <p:cNvSpPr txBox="1">
                <a:spLocks noChangeArrowheads="1"/>
              </p:cNvSpPr>
              <p:nvPr/>
            </p:nvSpPr>
            <p:spPr bwMode="auto">
              <a:xfrm>
                <a:off x="3316401" y="4404114"/>
                <a:ext cx="17152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728663">
                  <a:tabLst>
                    <a:tab pos="4286250" algn="l"/>
                  </a:tabLst>
                </a:pPr>
                <a:r>
                  <a:rPr lang="en-GB" sz="2400" b="1">
                    <a:cs typeface="Arial" pitchFamily="34" charset="0"/>
                  </a:rPr>
                  <a:t>$</a:t>
                </a:r>
              </a:p>
            </p:txBody>
          </p:sp>
        </p:grpSp>
      </p:grpSp>
      <p:grpSp>
        <p:nvGrpSpPr>
          <p:cNvPr id="1046" name="Group 116"/>
          <p:cNvGrpSpPr>
            <a:grpSpLocks/>
          </p:cNvGrpSpPr>
          <p:nvPr/>
        </p:nvGrpSpPr>
        <p:grpSpPr bwMode="auto">
          <a:xfrm>
            <a:off x="2171700" y="3744913"/>
            <a:ext cx="1911350" cy="828675"/>
            <a:chOff x="2172210" y="3745615"/>
            <a:chExt cx="1910468" cy="826830"/>
          </a:xfrm>
        </p:grpSpPr>
        <p:sp>
          <p:nvSpPr>
            <p:cNvPr id="1051" name="Rectangle 49"/>
            <p:cNvSpPr>
              <a:spLocks noChangeArrowheads="1"/>
            </p:cNvSpPr>
            <p:nvPr/>
          </p:nvSpPr>
          <p:spPr bwMode="auto">
            <a:xfrm>
              <a:off x="2663556" y="3753353"/>
              <a:ext cx="266924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en-US" sz="3200">
                  <a:solidFill>
                    <a:srgbClr val="6B5DA5"/>
                  </a:solidFill>
                  <a:cs typeface="Arial" pitchFamily="34" charset="0"/>
                </a:rPr>
                <a:t>8</a:t>
              </a:r>
              <a:endParaRPr lang="en-US" sz="1200">
                <a:cs typeface="Arial" pitchFamily="34" charset="0"/>
              </a:endParaRPr>
            </a:p>
          </p:txBody>
        </p:sp>
        <p:grpSp>
          <p:nvGrpSpPr>
            <p:cNvPr id="1052" name="Group 58"/>
            <p:cNvGrpSpPr>
              <a:grpSpLocks/>
            </p:cNvGrpSpPr>
            <p:nvPr/>
          </p:nvGrpSpPr>
          <p:grpSpPr bwMode="auto">
            <a:xfrm>
              <a:off x="2172210" y="3745615"/>
              <a:ext cx="413919" cy="424604"/>
              <a:chOff x="1627618" y="4311047"/>
              <a:chExt cx="333651" cy="335271"/>
            </a:xfrm>
          </p:grpSpPr>
          <p:sp>
            <p:nvSpPr>
              <p:cNvPr id="51" name="Rectangle 50"/>
              <p:cNvSpPr/>
              <p:nvPr/>
            </p:nvSpPr>
            <p:spPr>
              <a:xfrm>
                <a:off x="1650641" y="4574947"/>
                <a:ext cx="287789" cy="36271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627618" y="4609967"/>
                <a:ext cx="333835" cy="36271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686455" y="4394844"/>
                <a:ext cx="44767" cy="178853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1861686" y="4394844"/>
                <a:ext cx="46046" cy="180103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1773431" y="4394844"/>
                <a:ext cx="46046" cy="180103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650641" y="4363577"/>
                <a:ext cx="287789" cy="36270"/>
              </a:xfrm>
              <a:prstGeom prst="rect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  <p:sp>
            <p:nvSpPr>
              <p:cNvPr id="56" name="Isosceles Triangle 55"/>
              <p:cNvSpPr/>
              <p:nvPr/>
            </p:nvSpPr>
            <p:spPr>
              <a:xfrm>
                <a:off x="1627618" y="4311047"/>
                <a:ext cx="333835" cy="53780"/>
              </a:xfrm>
              <a:prstGeom prst="triangle">
                <a:avLst/>
              </a:prstGeom>
              <a:ln w="15875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 dirty="0"/>
              </a:p>
            </p:txBody>
          </p:sp>
        </p:grpSp>
        <p:sp>
          <p:nvSpPr>
            <p:cNvPr id="1053" name="TextBox 113"/>
            <p:cNvSpPr txBox="1">
              <a:spLocks noChangeArrowheads="1"/>
            </p:cNvSpPr>
            <p:nvPr/>
          </p:nvSpPr>
          <p:spPr bwMode="auto">
            <a:xfrm>
              <a:off x="2994157" y="3835945"/>
              <a:ext cx="1088521" cy="736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28663">
                <a:tabLst>
                  <a:tab pos="4286250" algn="l"/>
                </a:tabLst>
              </a:pPr>
              <a:r>
                <a:rPr lang="ru-RU" sz="1200">
                  <a:cs typeface="Arial" pitchFamily="34" charset="0"/>
                </a:rPr>
                <a:t>из 10 крупнейших мировых банков</a:t>
              </a:r>
              <a:endParaRPr lang="en-US" sz="1200">
                <a:cs typeface="Arial" pitchFamily="34" charset="0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7070725" y="2019300"/>
            <a:ext cx="865188" cy="6381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728663">
              <a:lnSpc>
                <a:spcPct val="50000"/>
              </a:lnSpc>
              <a:tabLst>
                <a:tab pos="4286250" algn="l"/>
              </a:tabLst>
              <a:defRPr/>
            </a:pPr>
            <a:r>
              <a:rPr lang="en-GB" sz="900" dirty="0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  <a:cs typeface="Arial" pitchFamily="34" charset="0"/>
              </a:rPr>
              <a:t>Present in</a:t>
            </a:r>
          </a:p>
          <a:p>
            <a:pPr algn="ctr" defTabSz="728663">
              <a:lnSpc>
                <a:spcPct val="90000"/>
              </a:lnSpc>
              <a:tabLst>
                <a:tab pos="4286250" algn="l"/>
              </a:tabLst>
              <a:defRPr/>
            </a:pPr>
            <a:r>
              <a:rPr lang="en-GB" sz="3600" dirty="0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  <a:cs typeface="Arial" pitchFamily="34" charset="0"/>
              </a:rPr>
              <a:t>130</a:t>
            </a:r>
          </a:p>
          <a:p>
            <a:pPr algn="ctr" defTabSz="728663">
              <a:lnSpc>
                <a:spcPct val="50000"/>
              </a:lnSpc>
              <a:tabLst>
                <a:tab pos="4286250" algn="l"/>
              </a:tabLst>
              <a:defRPr/>
            </a:pPr>
            <a:r>
              <a:rPr lang="en-GB" sz="900" dirty="0">
                <a:solidFill>
                  <a:schemeClr val="bg1">
                    <a:lumMod val="50000"/>
                  </a:schemeClr>
                </a:solidFill>
                <a:ea typeface="ＭＳ Ｐゴシック" pitchFamily="34" charset="-128"/>
                <a:cs typeface="Arial" pitchFamily="34" charset="0"/>
              </a:rPr>
              <a:t>countries</a:t>
            </a:r>
          </a:p>
        </p:txBody>
      </p:sp>
      <p:sp>
        <p:nvSpPr>
          <p:cNvPr id="1049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3249613" y="1038225"/>
            <a:ext cx="2517775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ru-RU" altLang="ja-JP" sz="1600">
                <a:solidFill>
                  <a:schemeClr val="tx2"/>
                </a:solidFill>
                <a:cs typeface="Arial" pitchFamily="34" charset="0"/>
              </a:rPr>
              <a:t>Портфель решений</a:t>
            </a:r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050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411163" y="1084263"/>
            <a:ext cx="2519362" cy="352425"/>
          </a:xfrm>
          <a:prstGeom prst="roundRect">
            <a:avLst>
              <a:gd name="adj" fmla="val 16667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ru-RU" altLang="ja-JP" sz="1600">
                <a:solidFill>
                  <a:schemeClr val="tx2"/>
                </a:solidFill>
                <a:cs typeface="Arial" pitchFamily="34" charset="0"/>
              </a:rPr>
              <a:t>Профиль компании</a:t>
            </a:r>
            <a:endParaRPr lang="en-US" altLang="ja-JP" sz="160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4516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Title 5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MISYS </a:t>
            </a:r>
            <a:r>
              <a:rPr lang="ru-RU" dirty="0" smtClean="0"/>
              <a:t>сегодня - глобальная клиентская база</a:t>
            </a:r>
            <a:endParaRPr lang="en-US" dirty="0" smtClean="0"/>
          </a:p>
        </p:txBody>
      </p:sp>
      <p:sp>
        <p:nvSpPr>
          <p:cNvPr id="2525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006E723-E72F-4A4C-863E-5EE5CC838087}" type="slidenum">
              <a:rPr lang="en-GB" smtClean="0">
                <a:ea typeface="MS PGothic" pitchFamily="34" charset="-128"/>
              </a:rPr>
              <a:pPr/>
              <a:t>23</a:t>
            </a:fld>
            <a:endParaRPr lang="en-GB" smtClean="0">
              <a:ea typeface="MS PGothic" pitchFamily="34" charset="-128"/>
            </a:endParaRPr>
          </a:p>
        </p:txBody>
      </p:sp>
      <p:sp>
        <p:nvSpPr>
          <p:cNvPr id="1012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16009938" y="2655888"/>
            <a:ext cx="1512887" cy="1150937"/>
          </a:xfrm>
          <a:prstGeom prst="rect">
            <a:avLst/>
          </a:prstGeom>
          <a:solidFill>
            <a:srgbClr val="FFFFFF">
              <a:alpha val="90000"/>
            </a:srgbClr>
          </a:solidFill>
          <a:ln w="6350" algn="ctr">
            <a:solidFill>
              <a:schemeClr val="accent5"/>
            </a:solidFill>
            <a:miter lim="800000"/>
            <a:headEnd/>
            <a:tailEnd/>
          </a:ln>
          <a:effectLst/>
          <a:extLst/>
        </p:spPr>
        <p:txBody>
          <a:bodyPr lIns="108000" tIns="72000" rIns="36000" bIns="18000"/>
          <a:lstStyle/>
          <a:p>
            <a:pPr eaLnBrk="0" hangingPunct="0">
              <a:defRPr/>
            </a:pPr>
            <a:r>
              <a:rPr lang="en-US" altLang="ja-JP" sz="1000" b="1" dirty="0">
                <a:solidFill>
                  <a:schemeClr val="tx2"/>
                </a:solidFill>
                <a:ea typeface="ＭＳ Ｐゴシック" pitchFamily="34" charset="-128"/>
                <a:cs typeface="Arial" pitchFamily="34" charset="0"/>
              </a:rPr>
              <a:t>Asia Pacific</a:t>
            </a:r>
          </a:p>
          <a:p>
            <a:pPr eaLnBrk="0" hangingPunct="0">
              <a:defRPr/>
            </a:pPr>
            <a:endParaRPr lang="en-US" altLang="ja-JP" sz="1000" b="1" dirty="0">
              <a:solidFill>
                <a:schemeClr val="accent5"/>
              </a:solidFill>
              <a:ea typeface="ＭＳ Ｐゴシック" pitchFamily="34" charset="-128"/>
              <a:cs typeface="Arial" pitchFamily="34" charset="0"/>
            </a:endParaRPr>
          </a:p>
          <a:p>
            <a:pPr eaLnBrk="0" hangingPunct="0">
              <a:defRPr/>
            </a:pPr>
            <a:r>
              <a:rPr lang="en-US" altLang="ja-JP" sz="1000" b="1" dirty="0">
                <a:solidFill>
                  <a:schemeClr val="accent5"/>
                </a:solidFill>
                <a:ea typeface="ＭＳ Ｐゴシック" pitchFamily="34" charset="-128"/>
                <a:cs typeface="Arial" pitchFamily="34" charset="0"/>
              </a:rPr>
              <a:t>[450] Customers</a:t>
            </a:r>
          </a:p>
          <a:p>
            <a:pPr eaLnBrk="0" hangingPunct="0">
              <a:defRPr/>
            </a:pPr>
            <a:r>
              <a:rPr lang="en-US" altLang="ja-JP" sz="1000" b="1" dirty="0">
                <a:solidFill>
                  <a:schemeClr val="accent5"/>
                </a:solidFill>
                <a:ea typeface="ＭＳ Ｐゴシック" pitchFamily="34" charset="-128"/>
                <a:cs typeface="Arial" pitchFamily="34" charset="0"/>
              </a:rPr>
              <a:t>[22%] of Total</a:t>
            </a:r>
          </a:p>
        </p:txBody>
      </p:sp>
      <p:graphicFrame>
        <p:nvGraphicFramePr>
          <p:cNvPr id="2050" name="Chart 1015" descr="&lt;tags&gt;&lt;tag n=&quot;AppId&quot; v=&quot;1&quot; /&gt;&lt;tag n=&quot;Type&quot; v=&quot;0&quot; /&gt;&lt;tag n=&quot;TimeStamp&quot; v=&quot;2014-03-31 13:18:20&quot; /&gt;&lt;/tags&gt;"/>
          <p:cNvGraphicFramePr>
            <a:graphicFrameLocks/>
          </p:cNvGraphicFramePr>
          <p:nvPr/>
        </p:nvGraphicFramePr>
        <p:xfrm>
          <a:off x="15821025" y="3208338"/>
          <a:ext cx="914400" cy="738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r:id="rId385" imgW="914479" imgH="737680" progId="Excel.Sheet.8">
                  <p:embed/>
                </p:oleObj>
              </mc:Choice>
              <mc:Fallback>
                <p:oleObj r:id="rId385" imgW="914479" imgH="73768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8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21025" y="3208338"/>
                        <a:ext cx="914400" cy="7381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7" name="Freeform 1030"/>
          <p:cNvSpPr>
            <a:spLocks/>
          </p:cNvSpPr>
          <p:nvPr/>
        </p:nvSpPr>
        <p:spPr bwMode="auto">
          <a:xfrm>
            <a:off x="7724775" y="4876800"/>
            <a:ext cx="3175" cy="3175"/>
          </a:xfrm>
          <a:custGeom>
            <a:avLst/>
            <a:gdLst>
              <a:gd name="T0" fmla="*/ 0 w 6"/>
              <a:gd name="T1" fmla="*/ 2147483647 h 4"/>
              <a:gd name="T2" fmla="*/ 2147483647 w 6"/>
              <a:gd name="T3" fmla="*/ 0 h 4"/>
              <a:gd name="T4" fmla="*/ 2147483647 w 6"/>
              <a:gd name="T5" fmla="*/ 0 h 4"/>
              <a:gd name="T6" fmla="*/ 2147483647 w 6"/>
              <a:gd name="T7" fmla="*/ 2147483647 h 4"/>
              <a:gd name="T8" fmla="*/ 0 w 6"/>
              <a:gd name="T9" fmla="*/ 2147483647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4"/>
              <a:gd name="T17" fmla="*/ 6 w 6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4">
                <a:moveTo>
                  <a:pt x="0" y="4"/>
                </a:moveTo>
                <a:lnTo>
                  <a:pt x="2" y="0"/>
                </a:lnTo>
                <a:lnTo>
                  <a:pt x="6" y="0"/>
                </a:lnTo>
                <a:lnTo>
                  <a:pt x="4" y="4"/>
                </a:lnTo>
                <a:lnTo>
                  <a:pt x="0" y="4"/>
                </a:lnTo>
                <a:close/>
              </a:path>
            </a:pathLst>
          </a:custGeom>
          <a:solidFill>
            <a:schemeClr val="accent1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421" name="Freeform 437"/>
          <p:cNvSpPr>
            <a:spLocks/>
          </p:cNvSpPr>
          <p:nvPr/>
        </p:nvSpPr>
        <p:spPr bwMode="auto">
          <a:xfrm>
            <a:off x="7437438" y="4932363"/>
            <a:ext cx="1587" cy="3175"/>
          </a:xfrm>
          <a:custGeom>
            <a:avLst/>
            <a:gdLst>
              <a:gd name="T0" fmla="*/ 0 w 4"/>
              <a:gd name="T1" fmla="*/ 4 h 4"/>
              <a:gd name="T2" fmla="*/ 2 w 4"/>
              <a:gd name="T3" fmla="*/ 0 h 4"/>
              <a:gd name="T4" fmla="*/ 4 w 4"/>
              <a:gd name="T5" fmla="*/ 0 h 4"/>
              <a:gd name="T6" fmla="*/ 4 w 4"/>
              <a:gd name="T7" fmla="*/ 4 h 4"/>
              <a:gd name="T8" fmla="*/ 0 w 4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0" y="4"/>
                </a:moveTo>
                <a:lnTo>
                  <a:pt x="2" y="0"/>
                </a:lnTo>
                <a:lnTo>
                  <a:pt x="4" y="0"/>
                </a:lnTo>
                <a:lnTo>
                  <a:pt x="4" y="4"/>
                </a:lnTo>
                <a:lnTo>
                  <a:pt x="0" y="4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451" name="Freeform 468"/>
          <p:cNvSpPr>
            <a:spLocks/>
          </p:cNvSpPr>
          <p:nvPr/>
        </p:nvSpPr>
        <p:spPr bwMode="auto">
          <a:xfrm>
            <a:off x="5580063" y="4892675"/>
            <a:ext cx="12700" cy="4763"/>
          </a:xfrm>
          <a:custGeom>
            <a:avLst/>
            <a:gdLst>
              <a:gd name="T0" fmla="*/ 6 w 20"/>
              <a:gd name="T1" fmla="*/ 8 h 8"/>
              <a:gd name="T2" fmla="*/ 0 w 20"/>
              <a:gd name="T3" fmla="*/ 0 h 8"/>
              <a:gd name="T4" fmla="*/ 6 w 20"/>
              <a:gd name="T5" fmla="*/ 0 h 8"/>
              <a:gd name="T6" fmla="*/ 20 w 20"/>
              <a:gd name="T7" fmla="*/ 8 h 8"/>
              <a:gd name="T8" fmla="*/ 6 w 20"/>
              <a:gd name="T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8">
                <a:moveTo>
                  <a:pt x="6" y="8"/>
                </a:moveTo>
                <a:lnTo>
                  <a:pt x="0" y="0"/>
                </a:lnTo>
                <a:lnTo>
                  <a:pt x="6" y="0"/>
                </a:lnTo>
                <a:lnTo>
                  <a:pt x="20" y="8"/>
                </a:lnTo>
                <a:lnTo>
                  <a:pt x="6" y="8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458" name="Freeform 475"/>
          <p:cNvSpPr>
            <a:spLocks/>
          </p:cNvSpPr>
          <p:nvPr/>
        </p:nvSpPr>
        <p:spPr bwMode="auto">
          <a:xfrm>
            <a:off x="3400425" y="1016000"/>
            <a:ext cx="7938" cy="4763"/>
          </a:xfrm>
          <a:custGeom>
            <a:avLst/>
            <a:gdLst>
              <a:gd name="T0" fmla="*/ 12 w 12"/>
              <a:gd name="T1" fmla="*/ 2 h 6"/>
              <a:gd name="T2" fmla="*/ 8 w 12"/>
              <a:gd name="T3" fmla="*/ 6 h 6"/>
              <a:gd name="T4" fmla="*/ 0 w 12"/>
              <a:gd name="T5" fmla="*/ 4 h 6"/>
              <a:gd name="T6" fmla="*/ 2 w 12"/>
              <a:gd name="T7" fmla="*/ 0 h 6"/>
              <a:gd name="T8" fmla="*/ 12 w 12"/>
              <a:gd name="T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6">
                <a:moveTo>
                  <a:pt x="12" y="2"/>
                </a:moveTo>
                <a:lnTo>
                  <a:pt x="8" y="6"/>
                </a:lnTo>
                <a:lnTo>
                  <a:pt x="0" y="4"/>
                </a:lnTo>
                <a:lnTo>
                  <a:pt x="2" y="0"/>
                </a:lnTo>
                <a:lnTo>
                  <a:pt x="12" y="2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459" name="Freeform 476"/>
          <p:cNvSpPr>
            <a:spLocks/>
          </p:cNvSpPr>
          <p:nvPr/>
        </p:nvSpPr>
        <p:spPr bwMode="auto">
          <a:xfrm>
            <a:off x="3381375" y="1017588"/>
            <a:ext cx="12700" cy="4762"/>
          </a:xfrm>
          <a:custGeom>
            <a:avLst/>
            <a:gdLst>
              <a:gd name="T0" fmla="*/ 18 w 18"/>
              <a:gd name="T1" fmla="*/ 0 h 6"/>
              <a:gd name="T2" fmla="*/ 18 w 18"/>
              <a:gd name="T3" fmla="*/ 6 h 6"/>
              <a:gd name="T4" fmla="*/ 0 w 18"/>
              <a:gd name="T5" fmla="*/ 0 h 6"/>
              <a:gd name="T6" fmla="*/ 18 w 18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6">
                <a:moveTo>
                  <a:pt x="18" y="0"/>
                </a:moveTo>
                <a:lnTo>
                  <a:pt x="18" y="6"/>
                </a:lnTo>
                <a:lnTo>
                  <a:pt x="0" y="0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543" name="Freeform 569"/>
          <p:cNvSpPr>
            <a:spLocks/>
          </p:cNvSpPr>
          <p:nvPr/>
        </p:nvSpPr>
        <p:spPr bwMode="auto">
          <a:xfrm>
            <a:off x="3376613" y="4954588"/>
            <a:ext cx="3175" cy="3175"/>
          </a:xfrm>
          <a:custGeom>
            <a:avLst/>
            <a:gdLst>
              <a:gd name="T0" fmla="*/ 0 w 4"/>
              <a:gd name="T1" fmla="*/ 2 h 4"/>
              <a:gd name="T2" fmla="*/ 0 w 4"/>
              <a:gd name="T3" fmla="*/ 0 h 4"/>
              <a:gd name="T4" fmla="*/ 4 w 4"/>
              <a:gd name="T5" fmla="*/ 0 h 4"/>
              <a:gd name="T6" fmla="*/ 2 w 4"/>
              <a:gd name="T7" fmla="*/ 4 h 4"/>
              <a:gd name="T8" fmla="*/ 0 w 4"/>
              <a:gd name="T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0" y="2"/>
                </a:moveTo>
                <a:lnTo>
                  <a:pt x="0" y="0"/>
                </a:lnTo>
                <a:lnTo>
                  <a:pt x="4" y="0"/>
                </a:lnTo>
                <a:lnTo>
                  <a:pt x="2" y="4"/>
                </a:lnTo>
                <a:lnTo>
                  <a:pt x="0" y="2"/>
                </a:lnTo>
                <a:close/>
              </a:path>
            </a:pathLst>
          </a:custGeom>
          <a:solidFill>
            <a:schemeClr val="accent5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544" name="Freeform 570"/>
          <p:cNvSpPr>
            <a:spLocks/>
          </p:cNvSpPr>
          <p:nvPr/>
        </p:nvSpPr>
        <p:spPr bwMode="auto">
          <a:xfrm>
            <a:off x="3392488" y="4965700"/>
            <a:ext cx="1587" cy="1588"/>
          </a:xfrm>
          <a:custGeom>
            <a:avLst/>
            <a:gdLst>
              <a:gd name="T0" fmla="*/ 0 w 4"/>
              <a:gd name="T1" fmla="*/ 2 h 4"/>
              <a:gd name="T2" fmla="*/ 0 w 4"/>
              <a:gd name="T3" fmla="*/ 0 h 4"/>
              <a:gd name="T4" fmla="*/ 4 w 4"/>
              <a:gd name="T5" fmla="*/ 0 h 4"/>
              <a:gd name="T6" fmla="*/ 2 w 4"/>
              <a:gd name="T7" fmla="*/ 4 h 4"/>
              <a:gd name="T8" fmla="*/ 0 w 4"/>
              <a:gd name="T9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0" y="2"/>
                </a:moveTo>
                <a:lnTo>
                  <a:pt x="0" y="0"/>
                </a:lnTo>
                <a:lnTo>
                  <a:pt x="4" y="0"/>
                </a:lnTo>
                <a:lnTo>
                  <a:pt x="2" y="4"/>
                </a:lnTo>
                <a:lnTo>
                  <a:pt x="0" y="2"/>
                </a:lnTo>
                <a:close/>
              </a:path>
            </a:pathLst>
          </a:custGeom>
          <a:solidFill>
            <a:schemeClr val="accent5"/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545" name="Freeform 574"/>
          <p:cNvSpPr>
            <a:spLocks/>
          </p:cNvSpPr>
          <p:nvPr/>
        </p:nvSpPr>
        <p:spPr bwMode="auto">
          <a:xfrm>
            <a:off x="4030663" y="4932363"/>
            <a:ext cx="3175" cy="3175"/>
          </a:xfrm>
          <a:custGeom>
            <a:avLst/>
            <a:gdLst>
              <a:gd name="T0" fmla="*/ 0 w 4"/>
              <a:gd name="T1" fmla="*/ 4 h 4"/>
              <a:gd name="T2" fmla="*/ 0 w 4"/>
              <a:gd name="T3" fmla="*/ 2 h 4"/>
              <a:gd name="T4" fmla="*/ 2 w 4"/>
              <a:gd name="T5" fmla="*/ 0 h 4"/>
              <a:gd name="T6" fmla="*/ 4 w 4"/>
              <a:gd name="T7" fmla="*/ 4 h 4"/>
              <a:gd name="T8" fmla="*/ 4 w 4"/>
              <a:gd name="T9" fmla="*/ 4 h 4"/>
              <a:gd name="T10" fmla="*/ 0 w 4"/>
              <a:gd name="T11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0" y="4"/>
                </a:moveTo>
                <a:lnTo>
                  <a:pt x="0" y="2"/>
                </a:lnTo>
                <a:lnTo>
                  <a:pt x="2" y="0"/>
                </a:lnTo>
                <a:lnTo>
                  <a:pt x="4" y="4"/>
                </a:lnTo>
                <a:lnTo>
                  <a:pt x="4" y="4"/>
                </a:lnTo>
                <a:lnTo>
                  <a:pt x="0" y="4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1552" name="Freeform 600"/>
          <p:cNvSpPr>
            <a:spLocks/>
          </p:cNvSpPr>
          <p:nvPr/>
        </p:nvSpPr>
        <p:spPr bwMode="auto">
          <a:xfrm>
            <a:off x="5532438" y="4886325"/>
            <a:ext cx="6350" cy="4763"/>
          </a:xfrm>
          <a:custGeom>
            <a:avLst/>
            <a:gdLst>
              <a:gd name="T0" fmla="*/ 6 w 10"/>
              <a:gd name="T1" fmla="*/ 6 h 6"/>
              <a:gd name="T2" fmla="*/ 10 w 10"/>
              <a:gd name="T3" fmla="*/ 2 h 6"/>
              <a:gd name="T4" fmla="*/ 6 w 10"/>
              <a:gd name="T5" fmla="*/ 0 h 6"/>
              <a:gd name="T6" fmla="*/ 0 w 10"/>
              <a:gd name="T7" fmla="*/ 0 h 6"/>
              <a:gd name="T8" fmla="*/ 4 w 10"/>
              <a:gd name="T9" fmla="*/ 4 h 6"/>
              <a:gd name="T10" fmla="*/ 6 w 10"/>
              <a:gd name="T11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6">
                <a:moveTo>
                  <a:pt x="6" y="6"/>
                </a:moveTo>
                <a:lnTo>
                  <a:pt x="10" y="2"/>
                </a:lnTo>
                <a:lnTo>
                  <a:pt x="6" y="0"/>
                </a:lnTo>
                <a:lnTo>
                  <a:pt x="0" y="0"/>
                </a:lnTo>
                <a:lnTo>
                  <a:pt x="4" y="4"/>
                </a:lnTo>
                <a:lnTo>
                  <a:pt x="6" y="6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/>
          <a:lstStyle/>
          <a:p>
            <a:pPr>
              <a:defRPr/>
            </a:pPr>
            <a:endParaRPr lang="en-GB" dirty="0">
              <a:latin typeface="Arial"/>
              <a:ea typeface="ＭＳ Ｐゴシック" pitchFamily="34" charset="-128"/>
            </a:endParaRPr>
          </a:p>
        </p:txBody>
      </p:sp>
      <p:sp>
        <p:nvSpPr>
          <p:cNvPr id="2066" name="Freeform 963"/>
          <p:cNvSpPr>
            <a:spLocks/>
          </p:cNvSpPr>
          <p:nvPr/>
        </p:nvSpPr>
        <p:spPr bwMode="auto">
          <a:xfrm>
            <a:off x="454025" y="1700213"/>
            <a:ext cx="17463" cy="9525"/>
          </a:xfrm>
          <a:custGeom>
            <a:avLst/>
            <a:gdLst>
              <a:gd name="T0" fmla="*/ 0 w 26"/>
              <a:gd name="T1" fmla="*/ 2147483647 h 14"/>
              <a:gd name="T2" fmla="*/ 2147483647 w 26"/>
              <a:gd name="T3" fmla="*/ 2147483647 h 14"/>
              <a:gd name="T4" fmla="*/ 2147483647 w 26"/>
              <a:gd name="T5" fmla="*/ 2147483647 h 14"/>
              <a:gd name="T6" fmla="*/ 2147483647 w 26"/>
              <a:gd name="T7" fmla="*/ 0 h 14"/>
              <a:gd name="T8" fmla="*/ 2147483647 w 26"/>
              <a:gd name="T9" fmla="*/ 2147483647 h 14"/>
              <a:gd name="T10" fmla="*/ 2147483647 w 26"/>
              <a:gd name="T11" fmla="*/ 2147483647 h 14"/>
              <a:gd name="T12" fmla="*/ 0 w 26"/>
              <a:gd name="T13" fmla="*/ 2147483647 h 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14"/>
              <a:gd name="T23" fmla="*/ 26 w 26"/>
              <a:gd name="T24" fmla="*/ 14 h 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14">
                <a:moveTo>
                  <a:pt x="0" y="14"/>
                </a:moveTo>
                <a:lnTo>
                  <a:pt x="16" y="8"/>
                </a:lnTo>
                <a:lnTo>
                  <a:pt x="18" y="2"/>
                </a:lnTo>
                <a:lnTo>
                  <a:pt x="26" y="0"/>
                </a:lnTo>
                <a:lnTo>
                  <a:pt x="26" y="6"/>
                </a:lnTo>
                <a:lnTo>
                  <a:pt x="20" y="10"/>
                </a:lnTo>
                <a:lnTo>
                  <a:pt x="0" y="14"/>
                </a:lnTo>
                <a:close/>
              </a:path>
            </a:pathLst>
          </a:custGeom>
          <a:solidFill>
            <a:schemeClr val="accent1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67" name="Freeform 964"/>
          <p:cNvSpPr>
            <a:spLocks/>
          </p:cNvSpPr>
          <p:nvPr/>
        </p:nvSpPr>
        <p:spPr bwMode="auto">
          <a:xfrm>
            <a:off x="452438" y="1698625"/>
            <a:ext cx="7937" cy="4763"/>
          </a:xfrm>
          <a:custGeom>
            <a:avLst/>
            <a:gdLst>
              <a:gd name="T0" fmla="*/ 0 w 12"/>
              <a:gd name="T1" fmla="*/ 2147483647 h 8"/>
              <a:gd name="T2" fmla="*/ 2147483647 w 12"/>
              <a:gd name="T3" fmla="*/ 2147483647 h 8"/>
              <a:gd name="T4" fmla="*/ 2147483647 w 12"/>
              <a:gd name="T5" fmla="*/ 0 h 8"/>
              <a:gd name="T6" fmla="*/ 0 w 12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8"/>
              <a:gd name="T14" fmla="*/ 12 w 12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8">
                <a:moveTo>
                  <a:pt x="0" y="8"/>
                </a:moveTo>
                <a:lnTo>
                  <a:pt x="12" y="4"/>
                </a:lnTo>
                <a:lnTo>
                  <a:pt x="12" y="0"/>
                </a:lnTo>
                <a:lnTo>
                  <a:pt x="0" y="8"/>
                </a:lnTo>
                <a:close/>
              </a:path>
            </a:pathLst>
          </a:custGeom>
          <a:solidFill>
            <a:schemeClr val="accent1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34" name="Freeform 4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803525" y="4837113"/>
            <a:ext cx="30163" cy="53975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35" name="Freeform 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87438" y="1204913"/>
            <a:ext cx="730250" cy="415925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914400">
              <a:defRPr/>
            </a:pPr>
            <a:endParaRPr lang="en-GB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36" name="Freeform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16063" y="1778000"/>
            <a:ext cx="1287462" cy="717550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accent5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GB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37" name="Freeform 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92350" y="3224213"/>
            <a:ext cx="317500" cy="549275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38" name="Freeform 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573338" y="3749675"/>
            <a:ext cx="242887" cy="1052513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39" name="Freeform 9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484438" y="3079750"/>
            <a:ext cx="900112" cy="1122363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40" name="Freeform 10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452938" y="2098675"/>
            <a:ext cx="65087" cy="44450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75" name="Freeform 11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48125" y="1981200"/>
            <a:ext cx="77788" cy="149225"/>
          </a:xfrm>
          <a:custGeom>
            <a:avLst/>
            <a:gdLst>
              <a:gd name="T0" fmla="*/ 2147483647 w 192"/>
              <a:gd name="T1" fmla="*/ 2147483647 h 307"/>
              <a:gd name="T2" fmla="*/ 2147483647 w 192"/>
              <a:gd name="T3" fmla="*/ 0 h 307"/>
              <a:gd name="T4" fmla="*/ 2147483647 w 192"/>
              <a:gd name="T5" fmla="*/ 2147483647 h 307"/>
              <a:gd name="T6" fmla="*/ 2147483647 w 192"/>
              <a:gd name="T7" fmla="*/ 2147483647 h 307"/>
              <a:gd name="T8" fmla="*/ 2147483647 w 192"/>
              <a:gd name="T9" fmla="*/ 2147483647 h 307"/>
              <a:gd name="T10" fmla="*/ 2147483647 w 192"/>
              <a:gd name="T11" fmla="*/ 2147483647 h 307"/>
              <a:gd name="T12" fmla="*/ 2147483647 w 192"/>
              <a:gd name="T13" fmla="*/ 2147483647 h 307"/>
              <a:gd name="T14" fmla="*/ 2147483647 w 192"/>
              <a:gd name="T15" fmla="*/ 2147483647 h 307"/>
              <a:gd name="T16" fmla="*/ 2147483647 w 192"/>
              <a:gd name="T17" fmla="*/ 2147483647 h 307"/>
              <a:gd name="T18" fmla="*/ 2147483647 w 192"/>
              <a:gd name="T19" fmla="*/ 2147483647 h 307"/>
              <a:gd name="T20" fmla="*/ 2147483647 w 192"/>
              <a:gd name="T21" fmla="*/ 2147483647 h 307"/>
              <a:gd name="T22" fmla="*/ 2147483647 w 192"/>
              <a:gd name="T23" fmla="*/ 2147483647 h 307"/>
              <a:gd name="T24" fmla="*/ 2147483647 w 192"/>
              <a:gd name="T25" fmla="*/ 2147483647 h 307"/>
              <a:gd name="T26" fmla="*/ 2147483647 w 192"/>
              <a:gd name="T27" fmla="*/ 2147483647 h 307"/>
              <a:gd name="T28" fmla="*/ 2147483647 w 192"/>
              <a:gd name="T29" fmla="*/ 2147483647 h 307"/>
              <a:gd name="T30" fmla="*/ 2147483647 w 192"/>
              <a:gd name="T31" fmla="*/ 2147483647 h 307"/>
              <a:gd name="T32" fmla="*/ 2147483647 w 192"/>
              <a:gd name="T33" fmla="*/ 2147483647 h 307"/>
              <a:gd name="T34" fmla="*/ 2147483647 w 192"/>
              <a:gd name="T35" fmla="*/ 2147483647 h 307"/>
              <a:gd name="T36" fmla="*/ 2147483647 w 192"/>
              <a:gd name="T37" fmla="*/ 2147483647 h 307"/>
              <a:gd name="T38" fmla="*/ 2147483647 w 192"/>
              <a:gd name="T39" fmla="*/ 2147483647 h 307"/>
              <a:gd name="T40" fmla="*/ 2147483647 w 192"/>
              <a:gd name="T41" fmla="*/ 2147483647 h 307"/>
              <a:gd name="T42" fmla="*/ 2147483647 w 192"/>
              <a:gd name="T43" fmla="*/ 2147483647 h 307"/>
              <a:gd name="T44" fmla="*/ 2147483647 w 192"/>
              <a:gd name="T45" fmla="*/ 2147483647 h 307"/>
              <a:gd name="T46" fmla="*/ 0 w 192"/>
              <a:gd name="T47" fmla="*/ 2147483647 h 307"/>
              <a:gd name="T48" fmla="*/ 0 w 192"/>
              <a:gd name="T49" fmla="*/ 2147483647 h 307"/>
              <a:gd name="T50" fmla="*/ 2147483647 w 192"/>
              <a:gd name="T51" fmla="*/ 2147483647 h 307"/>
              <a:gd name="T52" fmla="*/ 2147483647 w 192"/>
              <a:gd name="T53" fmla="*/ 2147483647 h 307"/>
              <a:gd name="T54" fmla="*/ 2147483647 w 192"/>
              <a:gd name="T55" fmla="*/ 2147483647 h 307"/>
              <a:gd name="T56" fmla="*/ 2147483647 w 192"/>
              <a:gd name="T57" fmla="*/ 2147483647 h 307"/>
              <a:gd name="T58" fmla="*/ 2147483647 w 192"/>
              <a:gd name="T59" fmla="*/ 2147483647 h 307"/>
              <a:gd name="T60" fmla="*/ 2147483647 w 192"/>
              <a:gd name="T61" fmla="*/ 2147483647 h 307"/>
              <a:gd name="T62" fmla="*/ 2147483647 w 192"/>
              <a:gd name="T63" fmla="*/ 2147483647 h 307"/>
              <a:gd name="T64" fmla="*/ 2147483647 w 192"/>
              <a:gd name="T65" fmla="*/ 2147483647 h 307"/>
              <a:gd name="T66" fmla="*/ 2147483647 w 192"/>
              <a:gd name="T67" fmla="*/ 2147483647 h 307"/>
              <a:gd name="T68" fmla="*/ 2147483647 w 192"/>
              <a:gd name="T69" fmla="*/ 2147483647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2"/>
              <a:gd name="T106" fmla="*/ 0 h 307"/>
              <a:gd name="T107" fmla="*/ 192 w 192"/>
              <a:gd name="T108" fmla="*/ 307 h 3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76" name="Freeform 1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60825" y="1501775"/>
            <a:ext cx="160338" cy="250825"/>
          </a:xfrm>
          <a:custGeom>
            <a:avLst/>
            <a:gdLst>
              <a:gd name="T0" fmla="*/ 2147483647 w 398"/>
              <a:gd name="T1" fmla="*/ 2147483647 h 518"/>
              <a:gd name="T2" fmla="*/ 2147483647 w 398"/>
              <a:gd name="T3" fmla="*/ 2147483647 h 518"/>
              <a:gd name="T4" fmla="*/ 2147483647 w 398"/>
              <a:gd name="T5" fmla="*/ 2147483647 h 518"/>
              <a:gd name="T6" fmla="*/ 2147483647 w 398"/>
              <a:gd name="T7" fmla="*/ 2147483647 h 518"/>
              <a:gd name="T8" fmla="*/ 2147483647 w 398"/>
              <a:gd name="T9" fmla="*/ 2147483647 h 518"/>
              <a:gd name="T10" fmla="*/ 2147483647 w 398"/>
              <a:gd name="T11" fmla="*/ 2147483647 h 518"/>
              <a:gd name="T12" fmla="*/ 2147483647 w 398"/>
              <a:gd name="T13" fmla="*/ 2147483647 h 518"/>
              <a:gd name="T14" fmla="*/ 2147483647 w 398"/>
              <a:gd name="T15" fmla="*/ 2147483647 h 518"/>
              <a:gd name="T16" fmla="*/ 2147483647 w 398"/>
              <a:gd name="T17" fmla="*/ 2147483647 h 518"/>
              <a:gd name="T18" fmla="*/ 2147483647 w 398"/>
              <a:gd name="T19" fmla="*/ 2147483647 h 518"/>
              <a:gd name="T20" fmla="*/ 2147483647 w 398"/>
              <a:gd name="T21" fmla="*/ 2147483647 h 518"/>
              <a:gd name="T22" fmla="*/ 2147483647 w 398"/>
              <a:gd name="T23" fmla="*/ 2147483647 h 518"/>
              <a:gd name="T24" fmla="*/ 2147483647 w 398"/>
              <a:gd name="T25" fmla="*/ 2147483647 h 518"/>
              <a:gd name="T26" fmla="*/ 2147483647 w 398"/>
              <a:gd name="T27" fmla="*/ 2147483647 h 518"/>
              <a:gd name="T28" fmla="*/ 2147483647 w 398"/>
              <a:gd name="T29" fmla="*/ 2147483647 h 518"/>
              <a:gd name="T30" fmla="*/ 2147483647 w 398"/>
              <a:gd name="T31" fmla="*/ 2147483647 h 518"/>
              <a:gd name="T32" fmla="*/ 2147483647 w 398"/>
              <a:gd name="T33" fmla="*/ 2147483647 h 518"/>
              <a:gd name="T34" fmla="*/ 2147483647 w 398"/>
              <a:gd name="T35" fmla="*/ 2147483647 h 518"/>
              <a:gd name="T36" fmla="*/ 2147483647 w 398"/>
              <a:gd name="T37" fmla="*/ 2147483647 h 518"/>
              <a:gd name="T38" fmla="*/ 2147483647 w 398"/>
              <a:gd name="T39" fmla="*/ 2147483647 h 518"/>
              <a:gd name="T40" fmla="*/ 2147483647 w 398"/>
              <a:gd name="T41" fmla="*/ 2147483647 h 518"/>
              <a:gd name="T42" fmla="*/ 2147483647 w 398"/>
              <a:gd name="T43" fmla="*/ 2147483647 h 518"/>
              <a:gd name="T44" fmla="*/ 2147483647 w 398"/>
              <a:gd name="T45" fmla="*/ 2147483647 h 518"/>
              <a:gd name="T46" fmla="*/ 2147483647 w 398"/>
              <a:gd name="T47" fmla="*/ 2147483647 h 518"/>
              <a:gd name="T48" fmla="*/ 2147483647 w 398"/>
              <a:gd name="T49" fmla="*/ 2147483647 h 518"/>
              <a:gd name="T50" fmla="*/ 2147483647 w 398"/>
              <a:gd name="T51" fmla="*/ 2147483647 h 518"/>
              <a:gd name="T52" fmla="*/ 2147483647 w 398"/>
              <a:gd name="T53" fmla="*/ 2147483647 h 518"/>
              <a:gd name="T54" fmla="*/ 2147483647 w 398"/>
              <a:gd name="T55" fmla="*/ 2147483647 h 518"/>
              <a:gd name="T56" fmla="*/ 2147483647 w 398"/>
              <a:gd name="T57" fmla="*/ 2147483647 h 518"/>
              <a:gd name="T58" fmla="*/ 2147483647 w 398"/>
              <a:gd name="T59" fmla="*/ 2147483647 h 518"/>
              <a:gd name="T60" fmla="*/ 2147483647 w 398"/>
              <a:gd name="T61" fmla="*/ 2147483647 h 518"/>
              <a:gd name="T62" fmla="*/ 2147483647 w 398"/>
              <a:gd name="T63" fmla="*/ 2147483647 h 518"/>
              <a:gd name="T64" fmla="*/ 2147483647 w 398"/>
              <a:gd name="T65" fmla="*/ 2147483647 h 518"/>
              <a:gd name="T66" fmla="*/ 2147483647 w 398"/>
              <a:gd name="T67" fmla="*/ 2147483647 h 518"/>
              <a:gd name="T68" fmla="*/ 2147483647 w 398"/>
              <a:gd name="T69" fmla="*/ 2147483647 h 518"/>
              <a:gd name="T70" fmla="*/ 2147483647 w 398"/>
              <a:gd name="T71" fmla="*/ 2147483647 h 518"/>
              <a:gd name="T72" fmla="*/ 2147483647 w 398"/>
              <a:gd name="T73" fmla="*/ 2147483647 h 518"/>
              <a:gd name="T74" fmla="*/ 2147483647 w 398"/>
              <a:gd name="T75" fmla="*/ 2147483647 h 518"/>
              <a:gd name="T76" fmla="*/ 2147483647 w 398"/>
              <a:gd name="T77" fmla="*/ 2147483647 h 518"/>
              <a:gd name="T78" fmla="*/ 2147483647 w 398"/>
              <a:gd name="T79" fmla="*/ 2147483647 h 518"/>
              <a:gd name="T80" fmla="*/ 2147483647 w 398"/>
              <a:gd name="T81" fmla="*/ 2147483647 h 518"/>
              <a:gd name="T82" fmla="*/ 2147483647 w 398"/>
              <a:gd name="T83" fmla="*/ 2147483647 h 518"/>
              <a:gd name="T84" fmla="*/ 2147483647 w 398"/>
              <a:gd name="T85" fmla="*/ 2147483647 h 518"/>
              <a:gd name="T86" fmla="*/ 2147483647 w 398"/>
              <a:gd name="T87" fmla="*/ 2147483647 h 518"/>
              <a:gd name="T88" fmla="*/ 2147483647 w 398"/>
              <a:gd name="T89" fmla="*/ 2147483647 h 518"/>
              <a:gd name="T90" fmla="*/ 2147483647 w 398"/>
              <a:gd name="T91" fmla="*/ 2147483647 h 518"/>
              <a:gd name="T92" fmla="*/ 2147483647 w 398"/>
              <a:gd name="T93" fmla="*/ 2147483647 h 518"/>
              <a:gd name="T94" fmla="*/ 2147483647 w 398"/>
              <a:gd name="T95" fmla="*/ 2147483647 h 518"/>
              <a:gd name="T96" fmla="*/ 2147483647 w 398"/>
              <a:gd name="T97" fmla="*/ 2147483647 h 518"/>
              <a:gd name="T98" fmla="*/ 2147483647 w 398"/>
              <a:gd name="T99" fmla="*/ 2147483647 h 518"/>
              <a:gd name="T100" fmla="*/ 2147483647 w 398"/>
              <a:gd name="T101" fmla="*/ 2147483647 h 518"/>
              <a:gd name="T102" fmla="*/ 2147483647 w 398"/>
              <a:gd name="T103" fmla="*/ 2147483647 h 518"/>
              <a:gd name="T104" fmla="*/ 2147483647 w 398"/>
              <a:gd name="T105" fmla="*/ 2147483647 h 518"/>
              <a:gd name="T106" fmla="*/ 2147483647 w 398"/>
              <a:gd name="T107" fmla="*/ 2147483647 h 518"/>
              <a:gd name="T108" fmla="*/ 2147483647 w 398"/>
              <a:gd name="T109" fmla="*/ 2147483647 h 518"/>
              <a:gd name="T110" fmla="*/ 2147483647 w 398"/>
              <a:gd name="T111" fmla="*/ 2147483647 h 518"/>
              <a:gd name="T112" fmla="*/ 2147483647 w 398"/>
              <a:gd name="T113" fmla="*/ 2147483647 h 518"/>
              <a:gd name="T114" fmla="*/ 2147483647 w 398"/>
              <a:gd name="T115" fmla="*/ 2147483647 h 518"/>
              <a:gd name="T116" fmla="*/ 2147483647 w 398"/>
              <a:gd name="T117" fmla="*/ 2147483647 h 518"/>
              <a:gd name="T118" fmla="*/ 2147483647 w 398"/>
              <a:gd name="T119" fmla="*/ 2147483647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98"/>
              <a:gd name="T181" fmla="*/ 0 h 518"/>
              <a:gd name="T182" fmla="*/ 398 w 398"/>
              <a:gd name="T183" fmla="*/ 518 h 5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77" name="Freeform 1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395788" y="1784350"/>
            <a:ext cx="157162" cy="71438"/>
          </a:xfrm>
          <a:custGeom>
            <a:avLst/>
            <a:gdLst>
              <a:gd name="T0" fmla="*/ 2147483647 w 382"/>
              <a:gd name="T1" fmla="*/ 2147483647 h 148"/>
              <a:gd name="T2" fmla="*/ 2147483647 w 382"/>
              <a:gd name="T3" fmla="*/ 2147483647 h 148"/>
              <a:gd name="T4" fmla="*/ 2147483647 w 382"/>
              <a:gd name="T5" fmla="*/ 2147483647 h 148"/>
              <a:gd name="T6" fmla="*/ 2147483647 w 382"/>
              <a:gd name="T7" fmla="*/ 2147483647 h 148"/>
              <a:gd name="T8" fmla="*/ 2147483647 w 382"/>
              <a:gd name="T9" fmla="*/ 2147483647 h 148"/>
              <a:gd name="T10" fmla="*/ 2147483647 w 382"/>
              <a:gd name="T11" fmla="*/ 2147483647 h 148"/>
              <a:gd name="T12" fmla="*/ 2147483647 w 382"/>
              <a:gd name="T13" fmla="*/ 2147483647 h 148"/>
              <a:gd name="T14" fmla="*/ 2147483647 w 382"/>
              <a:gd name="T15" fmla="*/ 2147483647 h 148"/>
              <a:gd name="T16" fmla="*/ 2147483647 w 382"/>
              <a:gd name="T17" fmla="*/ 2147483647 h 148"/>
              <a:gd name="T18" fmla="*/ 2147483647 w 382"/>
              <a:gd name="T19" fmla="*/ 2147483647 h 148"/>
              <a:gd name="T20" fmla="*/ 2147483647 w 382"/>
              <a:gd name="T21" fmla="*/ 2147483647 h 148"/>
              <a:gd name="T22" fmla="*/ 0 w 382"/>
              <a:gd name="T23" fmla="*/ 2147483647 h 148"/>
              <a:gd name="T24" fmla="*/ 2147483647 w 382"/>
              <a:gd name="T25" fmla="*/ 2147483647 h 148"/>
              <a:gd name="T26" fmla="*/ 2147483647 w 382"/>
              <a:gd name="T27" fmla="*/ 2147483647 h 148"/>
              <a:gd name="T28" fmla="*/ 2147483647 w 382"/>
              <a:gd name="T29" fmla="*/ 2147483647 h 148"/>
              <a:gd name="T30" fmla="*/ 2147483647 w 382"/>
              <a:gd name="T31" fmla="*/ 2147483647 h 148"/>
              <a:gd name="T32" fmla="*/ 2147483647 w 382"/>
              <a:gd name="T33" fmla="*/ 2147483647 h 148"/>
              <a:gd name="T34" fmla="*/ 2147483647 w 382"/>
              <a:gd name="T35" fmla="*/ 2147483647 h 148"/>
              <a:gd name="T36" fmla="*/ 2147483647 w 382"/>
              <a:gd name="T37" fmla="*/ 2147483647 h 148"/>
              <a:gd name="T38" fmla="*/ 2147483647 w 382"/>
              <a:gd name="T39" fmla="*/ 2147483647 h 148"/>
              <a:gd name="T40" fmla="*/ 2147483647 w 382"/>
              <a:gd name="T41" fmla="*/ 2147483647 h 148"/>
              <a:gd name="T42" fmla="*/ 2147483647 w 382"/>
              <a:gd name="T43" fmla="*/ 2147483647 h 148"/>
              <a:gd name="T44" fmla="*/ 2147483647 w 382"/>
              <a:gd name="T45" fmla="*/ 2147483647 h 148"/>
              <a:gd name="T46" fmla="*/ 2147483647 w 382"/>
              <a:gd name="T47" fmla="*/ 2147483647 h 148"/>
              <a:gd name="T48" fmla="*/ 2147483647 w 382"/>
              <a:gd name="T49" fmla="*/ 2147483647 h 148"/>
              <a:gd name="T50" fmla="*/ 2147483647 w 382"/>
              <a:gd name="T51" fmla="*/ 2147483647 h 148"/>
              <a:gd name="T52" fmla="*/ 2147483647 w 382"/>
              <a:gd name="T53" fmla="*/ 2147483647 h 148"/>
              <a:gd name="T54" fmla="*/ 2147483647 w 382"/>
              <a:gd name="T55" fmla="*/ 2147483647 h 148"/>
              <a:gd name="T56" fmla="*/ 2147483647 w 382"/>
              <a:gd name="T57" fmla="*/ 2147483647 h 148"/>
              <a:gd name="T58" fmla="*/ 2147483647 w 382"/>
              <a:gd name="T59" fmla="*/ 2147483647 h 148"/>
              <a:gd name="T60" fmla="*/ 2147483647 w 382"/>
              <a:gd name="T61" fmla="*/ 2147483647 h 148"/>
              <a:gd name="T62" fmla="*/ 2147483647 w 382"/>
              <a:gd name="T63" fmla="*/ 2147483647 h 148"/>
              <a:gd name="T64" fmla="*/ 2147483647 w 382"/>
              <a:gd name="T65" fmla="*/ 2147483647 h 148"/>
              <a:gd name="T66" fmla="*/ 2147483647 w 382"/>
              <a:gd name="T67" fmla="*/ 2147483647 h 148"/>
              <a:gd name="T68" fmla="*/ 2147483647 w 382"/>
              <a:gd name="T69" fmla="*/ 2147483647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2"/>
              <a:gd name="T106" fmla="*/ 0 h 148"/>
              <a:gd name="T107" fmla="*/ 382 w 382"/>
              <a:gd name="T108" fmla="*/ 148 h 14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78" name="Freeform 1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786438" y="1643063"/>
            <a:ext cx="1193800" cy="96837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36"/>
              <a:gd name="T181" fmla="*/ 0 h 1983"/>
              <a:gd name="T182" fmla="*/ 2936 w 2936"/>
              <a:gd name="T183" fmla="*/ 1983 h 19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79" name="Freeform 15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567238" y="1216025"/>
            <a:ext cx="204787" cy="254000"/>
          </a:xfrm>
          <a:custGeom>
            <a:avLst/>
            <a:gdLst>
              <a:gd name="T0" fmla="*/ 2147483647 w 504"/>
              <a:gd name="T1" fmla="*/ 2147483647 h 524"/>
              <a:gd name="T2" fmla="*/ 2147483647 w 504"/>
              <a:gd name="T3" fmla="*/ 2147483647 h 524"/>
              <a:gd name="T4" fmla="*/ 2147483647 w 504"/>
              <a:gd name="T5" fmla="*/ 2147483647 h 524"/>
              <a:gd name="T6" fmla="*/ 2147483647 w 504"/>
              <a:gd name="T7" fmla="*/ 2147483647 h 524"/>
              <a:gd name="T8" fmla="*/ 2147483647 w 504"/>
              <a:gd name="T9" fmla="*/ 2147483647 h 524"/>
              <a:gd name="T10" fmla="*/ 2147483647 w 504"/>
              <a:gd name="T11" fmla="*/ 2147483647 h 524"/>
              <a:gd name="T12" fmla="*/ 2147483647 w 504"/>
              <a:gd name="T13" fmla="*/ 2147483647 h 524"/>
              <a:gd name="T14" fmla="*/ 2147483647 w 504"/>
              <a:gd name="T15" fmla="*/ 2147483647 h 524"/>
              <a:gd name="T16" fmla="*/ 2147483647 w 504"/>
              <a:gd name="T17" fmla="*/ 2147483647 h 524"/>
              <a:gd name="T18" fmla="*/ 2147483647 w 504"/>
              <a:gd name="T19" fmla="*/ 2147483647 h 524"/>
              <a:gd name="T20" fmla="*/ 2147483647 w 504"/>
              <a:gd name="T21" fmla="*/ 2147483647 h 524"/>
              <a:gd name="T22" fmla="*/ 2147483647 w 504"/>
              <a:gd name="T23" fmla="*/ 2147483647 h 524"/>
              <a:gd name="T24" fmla="*/ 2147483647 w 504"/>
              <a:gd name="T25" fmla="*/ 2147483647 h 524"/>
              <a:gd name="T26" fmla="*/ 2147483647 w 504"/>
              <a:gd name="T27" fmla="*/ 2147483647 h 524"/>
              <a:gd name="T28" fmla="*/ 2147483647 w 504"/>
              <a:gd name="T29" fmla="*/ 2147483647 h 524"/>
              <a:gd name="T30" fmla="*/ 2147483647 w 504"/>
              <a:gd name="T31" fmla="*/ 2147483647 h 524"/>
              <a:gd name="T32" fmla="*/ 2147483647 w 504"/>
              <a:gd name="T33" fmla="*/ 2147483647 h 524"/>
              <a:gd name="T34" fmla="*/ 2147483647 w 504"/>
              <a:gd name="T35" fmla="*/ 2147483647 h 524"/>
              <a:gd name="T36" fmla="*/ 2147483647 w 504"/>
              <a:gd name="T37" fmla="*/ 2147483647 h 524"/>
              <a:gd name="T38" fmla="*/ 2147483647 w 504"/>
              <a:gd name="T39" fmla="*/ 2147483647 h 524"/>
              <a:gd name="T40" fmla="*/ 2147483647 w 504"/>
              <a:gd name="T41" fmla="*/ 2147483647 h 524"/>
              <a:gd name="T42" fmla="*/ 2147483647 w 504"/>
              <a:gd name="T43" fmla="*/ 2147483647 h 524"/>
              <a:gd name="T44" fmla="*/ 2147483647 w 504"/>
              <a:gd name="T45" fmla="*/ 2147483647 h 524"/>
              <a:gd name="T46" fmla="*/ 2147483647 w 504"/>
              <a:gd name="T47" fmla="*/ 2147483647 h 524"/>
              <a:gd name="T48" fmla="*/ 2147483647 w 504"/>
              <a:gd name="T49" fmla="*/ 2147483647 h 524"/>
              <a:gd name="T50" fmla="*/ 2147483647 w 504"/>
              <a:gd name="T51" fmla="*/ 2147483647 h 524"/>
              <a:gd name="T52" fmla="*/ 2147483647 w 504"/>
              <a:gd name="T53" fmla="*/ 2147483647 h 524"/>
              <a:gd name="T54" fmla="*/ 2147483647 w 504"/>
              <a:gd name="T55" fmla="*/ 2147483647 h 524"/>
              <a:gd name="T56" fmla="*/ 2147483647 w 504"/>
              <a:gd name="T57" fmla="*/ 2147483647 h 524"/>
              <a:gd name="T58" fmla="*/ 2147483647 w 504"/>
              <a:gd name="T59" fmla="*/ 2147483647 h 524"/>
              <a:gd name="T60" fmla="*/ 2147483647 w 504"/>
              <a:gd name="T61" fmla="*/ 2147483647 h 524"/>
              <a:gd name="T62" fmla="*/ 2147483647 w 504"/>
              <a:gd name="T63" fmla="*/ 2147483647 h 524"/>
              <a:gd name="T64" fmla="*/ 2147483647 w 504"/>
              <a:gd name="T65" fmla="*/ 2147483647 h 524"/>
              <a:gd name="T66" fmla="*/ 2147483647 w 504"/>
              <a:gd name="T67" fmla="*/ 2147483647 h 524"/>
              <a:gd name="T68" fmla="*/ 2147483647 w 504"/>
              <a:gd name="T69" fmla="*/ 2147483647 h 524"/>
              <a:gd name="T70" fmla="*/ 2147483647 w 504"/>
              <a:gd name="T71" fmla="*/ 2147483647 h 524"/>
              <a:gd name="T72" fmla="*/ 2147483647 w 504"/>
              <a:gd name="T73" fmla="*/ 2147483647 h 524"/>
              <a:gd name="T74" fmla="*/ 2147483647 w 504"/>
              <a:gd name="T75" fmla="*/ 0 h 524"/>
              <a:gd name="T76" fmla="*/ 2147483647 w 504"/>
              <a:gd name="T77" fmla="*/ 0 h 524"/>
              <a:gd name="T78" fmla="*/ 2147483647 w 504"/>
              <a:gd name="T79" fmla="*/ 2147483647 h 524"/>
              <a:gd name="T80" fmla="*/ 2147483647 w 504"/>
              <a:gd name="T81" fmla="*/ 2147483647 h 524"/>
              <a:gd name="T82" fmla="*/ 2147483647 w 504"/>
              <a:gd name="T83" fmla="*/ 2147483647 h 524"/>
              <a:gd name="T84" fmla="*/ 2147483647 w 504"/>
              <a:gd name="T85" fmla="*/ 2147483647 h 524"/>
              <a:gd name="T86" fmla="*/ 2147483647 w 504"/>
              <a:gd name="T87" fmla="*/ 2147483647 h 524"/>
              <a:gd name="T88" fmla="*/ 2147483647 w 504"/>
              <a:gd name="T89" fmla="*/ 2147483647 h 524"/>
              <a:gd name="T90" fmla="*/ 2147483647 w 504"/>
              <a:gd name="T91" fmla="*/ 2147483647 h 524"/>
              <a:gd name="T92" fmla="*/ 2147483647 w 504"/>
              <a:gd name="T93" fmla="*/ 2147483647 h 524"/>
              <a:gd name="T94" fmla="*/ 2147483647 w 504"/>
              <a:gd name="T95" fmla="*/ 2147483647 h 524"/>
              <a:gd name="T96" fmla="*/ 2147483647 w 504"/>
              <a:gd name="T97" fmla="*/ 2147483647 h 524"/>
              <a:gd name="T98" fmla="*/ 2147483647 w 504"/>
              <a:gd name="T99" fmla="*/ 2147483647 h 524"/>
              <a:gd name="T100" fmla="*/ 2147483647 w 504"/>
              <a:gd name="T101" fmla="*/ 2147483647 h 524"/>
              <a:gd name="T102" fmla="*/ 2147483647 w 504"/>
              <a:gd name="T103" fmla="*/ 2147483647 h 524"/>
              <a:gd name="T104" fmla="*/ 2147483647 w 504"/>
              <a:gd name="T105" fmla="*/ 2147483647 h 524"/>
              <a:gd name="T106" fmla="*/ 2147483647 w 504"/>
              <a:gd name="T107" fmla="*/ 2147483647 h 524"/>
              <a:gd name="T108" fmla="*/ 2147483647 w 504"/>
              <a:gd name="T109" fmla="*/ 2147483647 h 524"/>
              <a:gd name="T110" fmla="*/ 2147483647 w 504"/>
              <a:gd name="T111" fmla="*/ 214748364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4"/>
              <a:gd name="T169" fmla="*/ 0 h 524"/>
              <a:gd name="T170" fmla="*/ 504 w 504"/>
              <a:gd name="T171" fmla="*/ 524 h 52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80" name="Freeform 16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321175" y="1604963"/>
            <a:ext cx="169863" cy="222250"/>
          </a:xfrm>
          <a:custGeom>
            <a:avLst/>
            <a:gdLst>
              <a:gd name="T0" fmla="*/ 2147483647 w 438"/>
              <a:gd name="T1" fmla="*/ 2147483647 h 451"/>
              <a:gd name="T2" fmla="*/ 2147483647 w 438"/>
              <a:gd name="T3" fmla="*/ 2147483647 h 451"/>
              <a:gd name="T4" fmla="*/ 2147483647 w 438"/>
              <a:gd name="T5" fmla="*/ 2147483647 h 451"/>
              <a:gd name="T6" fmla="*/ 2147483647 w 438"/>
              <a:gd name="T7" fmla="*/ 2147483647 h 451"/>
              <a:gd name="T8" fmla="*/ 2147483647 w 438"/>
              <a:gd name="T9" fmla="*/ 2147483647 h 451"/>
              <a:gd name="T10" fmla="*/ 2147483647 w 438"/>
              <a:gd name="T11" fmla="*/ 2147483647 h 451"/>
              <a:gd name="T12" fmla="*/ 2147483647 w 438"/>
              <a:gd name="T13" fmla="*/ 2147483647 h 451"/>
              <a:gd name="T14" fmla="*/ 2147483647 w 438"/>
              <a:gd name="T15" fmla="*/ 2147483647 h 451"/>
              <a:gd name="T16" fmla="*/ 2147483647 w 438"/>
              <a:gd name="T17" fmla="*/ 2147483647 h 451"/>
              <a:gd name="T18" fmla="*/ 2147483647 w 438"/>
              <a:gd name="T19" fmla="*/ 2147483647 h 451"/>
              <a:gd name="T20" fmla="*/ 2147483647 w 438"/>
              <a:gd name="T21" fmla="*/ 2147483647 h 451"/>
              <a:gd name="T22" fmla="*/ 2147483647 w 438"/>
              <a:gd name="T23" fmla="*/ 2147483647 h 451"/>
              <a:gd name="T24" fmla="*/ 2147483647 w 438"/>
              <a:gd name="T25" fmla="*/ 2147483647 h 451"/>
              <a:gd name="T26" fmla="*/ 2147483647 w 438"/>
              <a:gd name="T27" fmla="*/ 0 h 451"/>
              <a:gd name="T28" fmla="*/ 2147483647 w 438"/>
              <a:gd name="T29" fmla="*/ 2147483647 h 451"/>
              <a:gd name="T30" fmla="*/ 2147483647 w 438"/>
              <a:gd name="T31" fmla="*/ 2147483647 h 451"/>
              <a:gd name="T32" fmla="*/ 2147483647 w 438"/>
              <a:gd name="T33" fmla="*/ 2147483647 h 451"/>
              <a:gd name="T34" fmla="*/ 2147483647 w 438"/>
              <a:gd name="T35" fmla="*/ 2147483647 h 451"/>
              <a:gd name="T36" fmla="*/ 2147483647 w 438"/>
              <a:gd name="T37" fmla="*/ 2147483647 h 451"/>
              <a:gd name="T38" fmla="*/ 2147483647 w 438"/>
              <a:gd name="T39" fmla="*/ 2147483647 h 451"/>
              <a:gd name="T40" fmla="*/ 2147483647 w 438"/>
              <a:gd name="T41" fmla="*/ 2147483647 h 451"/>
              <a:gd name="T42" fmla="*/ 2147483647 w 438"/>
              <a:gd name="T43" fmla="*/ 2147483647 h 451"/>
              <a:gd name="T44" fmla="*/ 2147483647 w 438"/>
              <a:gd name="T45" fmla="*/ 2147483647 h 451"/>
              <a:gd name="T46" fmla="*/ 2147483647 w 438"/>
              <a:gd name="T47" fmla="*/ 2147483647 h 451"/>
              <a:gd name="T48" fmla="*/ 2147483647 w 438"/>
              <a:gd name="T49" fmla="*/ 2147483647 h 451"/>
              <a:gd name="T50" fmla="*/ 2147483647 w 438"/>
              <a:gd name="T51" fmla="*/ 2147483647 h 451"/>
              <a:gd name="T52" fmla="*/ 2147483647 w 438"/>
              <a:gd name="T53" fmla="*/ 2147483647 h 451"/>
              <a:gd name="T54" fmla="*/ 2147483647 w 438"/>
              <a:gd name="T55" fmla="*/ 2147483647 h 451"/>
              <a:gd name="T56" fmla="*/ 2147483647 w 438"/>
              <a:gd name="T57" fmla="*/ 2147483647 h 451"/>
              <a:gd name="T58" fmla="*/ 2147483647 w 438"/>
              <a:gd name="T59" fmla="*/ 2147483647 h 451"/>
              <a:gd name="T60" fmla="*/ 2147483647 w 438"/>
              <a:gd name="T61" fmla="*/ 2147483647 h 451"/>
              <a:gd name="T62" fmla="*/ 2147483647 w 438"/>
              <a:gd name="T63" fmla="*/ 2147483647 h 451"/>
              <a:gd name="T64" fmla="*/ 2147483647 w 438"/>
              <a:gd name="T65" fmla="*/ 2147483647 h 451"/>
              <a:gd name="T66" fmla="*/ 2147483647 w 438"/>
              <a:gd name="T67" fmla="*/ 2147483647 h 451"/>
              <a:gd name="T68" fmla="*/ 2147483647 w 438"/>
              <a:gd name="T69" fmla="*/ 2147483647 h 451"/>
              <a:gd name="T70" fmla="*/ 2147483647 w 438"/>
              <a:gd name="T71" fmla="*/ 2147483647 h 451"/>
              <a:gd name="T72" fmla="*/ 2147483647 w 438"/>
              <a:gd name="T73" fmla="*/ 2147483647 h 451"/>
              <a:gd name="T74" fmla="*/ 2147483647 w 438"/>
              <a:gd name="T75" fmla="*/ 2147483647 h 451"/>
              <a:gd name="T76" fmla="*/ 2147483647 w 438"/>
              <a:gd name="T77" fmla="*/ 2147483647 h 451"/>
              <a:gd name="T78" fmla="*/ 2147483647 w 438"/>
              <a:gd name="T79" fmla="*/ 2147483647 h 451"/>
              <a:gd name="T80" fmla="*/ 2147483647 w 438"/>
              <a:gd name="T81" fmla="*/ 2147483647 h 451"/>
              <a:gd name="T82" fmla="*/ 2147483647 w 438"/>
              <a:gd name="T83" fmla="*/ 2147483647 h 451"/>
              <a:gd name="T84" fmla="*/ 2147483647 w 438"/>
              <a:gd name="T85" fmla="*/ 2147483647 h 451"/>
              <a:gd name="T86" fmla="*/ 2147483647 w 438"/>
              <a:gd name="T87" fmla="*/ 2147483647 h 451"/>
              <a:gd name="T88" fmla="*/ 2147483647 w 438"/>
              <a:gd name="T89" fmla="*/ 2147483647 h 451"/>
              <a:gd name="T90" fmla="*/ 2147483647 w 438"/>
              <a:gd name="T91" fmla="*/ 2147483647 h 451"/>
              <a:gd name="T92" fmla="*/ 2147483647 w 438"/>
              <a:gd name="T93" fmla="*/ 2147483647 h 451"/>
              <a:gd name="T94" fmla="*/ 2147483647 w 438"/>
              <a:gd name="T95" fmla="*/ 2147483647 h 451"/>
              <a:gd name="T96" fmla="*/ 2147483647 w 438"/>
              <a:gd name="T97" fmla="*/ 2147483647 h 451"/>
              <a:gd name="T98" fmla="*/ 2147483647 w 438"/>
              <a:gd name="T99" fmla="*/ 214748364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451"/>
              <a:gd name="T152" fmla="*/ 438 w 438"/>
              <a:gd name="T153" fmla="*/ 451 h 45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81" name="Freeform 17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344988" y="1844675"/>
            <a:ext cx="233362" cy="255588"/>
          </a:xfrm>
          <a:custGeom>
            <a:avLst/>
            <a:gdLst>
              <a:gd name="T0" fmla="*/ 2147483647 w 578"/>
              <a:gd name="T1" fmla="*/ 2147483647 h 524"/>
              <a:gd name="T2" fmla="*/ 2147483647 w 578"/>
              <a:gd name="T3" fmla="*/ 2147483647 h 524"/>
              <a:gd name="T4" fmla="*/ 2147483647 w 578"/>
              <a:gd name="T5" fmla="*/ 2147483647 h 524"/>
              <a:gd name="T6" fmla="*/ 2147483647 w 578"/>
              <a:gd name="T7" fmla="*/ 2147483647 h 524"/>
              <a:gd name="T8" fmla="*/ 2147483647 w 578"/>
              <a:gd name="T9" fmla="*/ 2147483647 h 524"/>
              <a:gd name="T10" fmla="*/ 2147483647 w 578"/>
              <a:gd name="T11" fmla="*/ 2147483647 h 524"/>
              <a:gd name="T12" fmla="*/ 2147483647 w 578"/>
              <a:gd name="T13" fmla="*/ 2147483647 h 524"/>
              <a:gd name="T14" fmla="*/ 2147483647 w 578"/>
              <a:gd name="T15" fmla="*/ 2147483647 h 524"/>
              <a:gd name="T16" fmla="*/ 2147483647 w 578"/>
              <a:gd name="T17" fmla="*/ 2147483647 h 524"/>
              <a:gd name="T18" fmla="*/ 2147483647 w 578"/>
              <a:gd name="T19" fmla="*/ 2147483647 h 524"/>
              <a:gd name="T20" fmla="*/ 2147483647 w 578"/>
              <a:gd name="T21" fmla="*/ 2147483647 h 524"/>
              <a:gd name="T22" fmla="*/ 2147483647 w 578"/>
              <a:gd name="T23" fmla="*/ 2147483647 h 524"/>
              <a:gd name="T24" fmla="*/ 2147483647 w 578"/>
              <a:gd name="T25" fmla="*/ 2147483647 h 524"/>
              <a:gd name="T26" fmla="*/ 2147483647 w 578"/>
              <a:gd name="T27" fmla="*/ 2147483647 h 524"/>
              <a:gd name="T28" fmla="*/ 2147483647 w 578"/>
              <a:gd name="T29" fmla="*/ 2147483647 h 524"/>
              <a:gd name="T30" fmla="*/ 2147483647 w 578"/>
              <a:gd name="T31" fmla="*/ 2147483647 h 524"/>
              <a:gd name="T32" fmla="*/ 2147483647 w 578"/>
              <a:gd name="T33" fmla="*/ 2147483647 h 524"/>
              <a:gd name="T34" fmla="*/ 2147483647 w 578"/>
              <a:gd name="T35" fmla="*/ 2147483647 h 524"/>
              <a:gd name="T36" fmla="*/ 2147483647 w 578"/>
              <a:gd name="T37" fmla="*/ 2147483647 h 524"/>
              <a:gd name="T38" fmla="*/ 2147483647 w 578"/>
              <a:gd name="T39" fmla="*/ 2147483647 h 524"/>
              <a:gd name="T40" fmla="*/ 2147483647 w 578"/>
              <a:gd name="T41" fmla="*/ 2147483647 h 524"/>
              <a:gd name="T42" fmla="*/ 2147483647 w 578"/>
              <a:gd name="T43" fmla="*/ 2147483647 h 524"/>
              <a:gd name="T44" fmla="*/ 2147483647 w 578"/>
              <a:gd name="T45" fmla="*/ 2147483647 h 524"/>
              <a:gd name="T46" fmla="*/ 2147483647 w 578"/>
              <a:gd name="T47" fmla="*/ 2147483647 h 524"/>
              <a:gd name="T48" fmla="*/ 2147483647 w 578"/>
              <a:gd name="T49" fmla="*/ 2147483647 h 524"/>
              <a:gd name="T50" fmla="*/ 2147483647 w 578"/>
              <a:gd name="T51" fmla="*/ 2147483647 h 524"/>
              <a:gd name="T52" fmla="*/ 2147483647 w 578"/>
              <a:gd name="T53" fmla="*/ 2147483647 h 524"/>
              <a:gd name="T54" fmla="*/ 2147483647 w 578"/>
              <a:gd name="T55" fmla="*/ 2147483647 h 524"/>
              <a:gd name="T56" fmla="*/ 2147483647 w 578"/>
              <a:gd name="T57" fmla="*/ 2147483647 h 524"/>
              <a:gd name="T58" fmla="*/ 2147483647 w 578"/>
              <a:gd name="T59" fmla="*/ 2147483647 h 524"/>
              <a:gd name="T60" fmla="*/ 2147483647 w 578"/>
              <a:gd name="T61" fmla="*/ 2147483647 h 524"/>
              <a:gd name="T62" fmla="*/ 2147483647 w 578"/>
              <a:gd name="T63" fmla="*/ 2147483647 h 524"/>
              <a:gd name="T64" fmla="*/ 2147483647 w 578"/>
              <a:gd name="T65" fmla="*/ 2147483647 h 524"/>
              <a:gd name="T66" fmla="*/ 2147483647 w 578"/>
              <a:gd name="T67" fmla="*/ 2147483647 h 524"/>
              <a:gd name="T68" fmla="*/ 2147483647 w 578"/>
              <a:gd name="T69" fmla="*/ 2147483647 h 524"/>
              <a:gd name="T70" fmla="*/ 2147483647 w 578"/>
              <a:gd name="T71" fmla="*/ 2147483647 h 524"/>
              <a:gd name="T72" fmla="*/ 2147483647 w 578"/>
              <a:gd name="T73" fmla="*/ 2147483647 h 524"/>
              <a:gd name="T74" fmla="*/ 2147483647 w 578"/>
              <a:gd name="T75" fmla="*/ 2147483647 h 524"/>
              <a:gd name="T76" fmla="*/ 2147483647 w 578"/>
              <a:gd name="T77" fmla="*/ 2147483647 h 524"/>
              <a:gd name="T78" fmla="*/ 2147483647 w 578"/>
              <a:gd name="T79" fmla="*/ 2147483647 h 524"/>
              <a:gd name="T80" fmla="*/ 2147483647 w 578"/>
              <a:gd name="T81" fmla="*/ 2147483647 h 524"/>
              <a:gd name="T82" fmla="*/ 2147483647 w 578"/>
              <a:gd name="T83" fmla="*/ 2147483647 h 524"/>
              <a:gd name="T84" fmla="*/ 2147483647 w 578"/>
              <a:gd name="T85" fmla="*/ 2147483647 h 524"/>
              <a:gd name="T86" fmla="*/ 2147483647 w 578"/>
              <a:gd name="T87" fmla="*/ 2147483647 h 524"/>
              <a:gd name="T88" fmla="*/ 2147483647 w 578"/>
              <a:gd name="T89" fmla="*/ 2147483647 h 524"/>
              <a:gd name="T90" fmla="*/ 2147483647 w 578"/>
              <a:gd name="T91" fmla="*/ 2147483647 h 524"/>
              <a:gd name="T92" fmla="*/ 2147483647 w 578"/>
              <a:gd name="T93" fmla="*/ 2147483647 h 524"/>
              <a:gd name="T94" fmla="*/ 2147483647 w 578"/>
              <a:gd name="T95" fmla="*/ 2147483647 h 524"/>
              <a:gd name="T96" fmla="*/ 2147483647 w 578"/>
              <a:gd name="T97" fmla="*/ 0 h 524"/>
              <a:gd name="T98" fmla="*/ 2147483647 w 578"/>
              <a:gd name="T99" fmla="*/ 2147483647 h 524"/>
              <a:gd name="T100" fmla="*/ 2147483647 w 578"/>
              <a:gd name="T101" fmla="*/ 2147483647 h 524"/>
              <a:gd name="T102" fmla="*/ 2147483647 w 578"/>
              <a:gd name="T103" fmla="*/ 2147483647 h 524"/>
              <a:gd name="T104" fmla="*/ 2147483647 w 578"/>
              <a:gd name="T105" fmla="*/ 2147483647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8"/>
              <a:gd name="T160" fmla="*/ 0 h 524"/>
              <a:gd name="T161" fmla="*/ 578 w 578"/>
              <a:gd name="T162" fmla="*/ 524 h 52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82" name="Freeform 18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360863" y="2001838"/>
            <a:ext cx="31750" cy="7620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9"/>
              <a:gd name="T121" fmla="*/ 0 h 160"/>
              <a:gd name="T122" fmla="*/ 79 w 79"/>
              <a:gd name="T123" fmla="*/ 160 h 1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grpSp>
        <p:nvGrpSpPr>
          <p:cNvPr id="2" name="Group 19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6522515" y="2990028"/>
            <a:ext cx="440852" cy="198235"/>
            <a:chOff x="4488" y="2394"/>
            <a:chExt cx="358" cy="124"/>
          </a:xfrm>
          <a:solidFill>
            <a:srgbClr val="92D050"/>
          </a:solidFill>
        </p:grpSpPr>
        <p:sp>
          <p:nvSpPr>
            <p:cNvPr id="15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51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084" name="Freeform 22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679950" y="1011238"/>
            <a:ext cx="2855913" cy="1001712"/>
          </a:xfrm>
          <a:custGeom>
            <a:avLst/>
            <a:gdLst>
              <a:gd name="T0" fmla="*/ 2147483647 w 7049"/>
              <a:gd name="T1" fmla="*/ 2147483647 h 2048"/>
              <a:gd name="T2" fmla="*/ 2147483647 w 7049"/>
              <a:gd name="T3" fmla="*/ 2147483647 h 2048"/>
              <a:gd name="T4" fmla="*/ 2147483647 w 7049"/>
              <a:gd name="T5" fmla="*/ 2147483647 h 2048"/>
              <a:gd name="T6" fmla="*/ 2147483647 w 7049"/>
              <a:gd name="T7" fmla="*/ 2147483647 h 2048"/>
              <a:gd name="T8" fmla="*/ 2147483647 w 7049"/>
              <a:gd name="T9" fmla="*/ 2147483647 h 2048"/>
              <a:gd name="T10" fmla="*/ 2147483647 w 7049"/>
              <a:gd name="T11" fmla="*/ 2147483647 h 2048"/>
              <a:gd name="T12" fmla="*/ 2147483647 w 7049"/>
              <a:gd name="T13" fmla="*/ 2147483647 h 2048"/>
              <a:gd name="T14" fmla="*/ 2147483647 w 7049"/>
              <a:gd name="T15" fmla="*/ 2147483647 h 2048"/>
              <a:gd name="T16" fmla="*/ 2147483647 w 7049"/>
              <a:gd name="T17" fmla="*/ 2147483647 h 2048"/>
              <a:gd name="T18" fmla="*/ 2147483647 w 7049"/>
              <a:gd name="T19" fmla="*/ 2147483647 h 2048"/>
              <a:gd name="T20" fmla="*/ 2147483647 w 7049"/>
              <a:gd name="T21" fmla="*/ 2147483647 h 2048"/>
              <a:gd name="T22" fmla="*/ 2147483647 w 7049"/>
              <a:gd name="T23" fmla="*/ 2147483647 h 2048"/>
              <a:gd name="T24" fmla="*/ 2147483647 w 7049"/>
              <a:gd name="T25" fmla="*/ 2147483647 h 2048"/>
              <a:gd name="T26" fmla="*/ 2147483647 w 7049"/>
              <a:gd name="T27" fmla="*/ 2147483647 h 2048"/>
              <a:gd name="T28" fmla="*/ 2147483647 w 7049"/>
              <a:gd name="T29" fmla="*/ 2147483647 h 2048"/>
              <a:gd name="T30" fmla="*/ 2147483647 w 7049"/>
              <a:gd name="T31" fmla="*/ 2147483647 h 2048"/>
              <a:gd name="T32" fmla="*/ 2147483647 w 7049"/>
              <a:gd name="T33" fmla="*/ 2147483647 h 2048"/>
              <a:gd name="T34" fmla="*/ 2147483647 w 7049"/>
              <a:gd name="T35" fmla="*/ 2147483647 h 2048"/>
              <a:gd name="T36" fmla="*/ 2147483647 w 7049"/>
              <a:gd name="T37" fmla="*/ 2147483647 h 2048"/>
              <a:gd name="T38" fmla="*/ 2147483647 w 7049"/>
              <a:gd name="T39" fmla="*/ 2147483647 h 2048"/>
              <a:gd name="T40" fmla="*/ 2147483647 w 7049"/>
              <a:gd name="T41" fmla="*/ 2147483647 h 2048"/>
              <a:gd name="T42" fmla="*/ 2147483647 w 7049"/>
              <a:gd name="T43" fmla="*/ 2147483647 h 2048"/>
              <a:gd name="T44" fmla="*/ 2147483647 w 7049"/>
              <a:gd name="T45" fmla="*/ 2147483647 h 2048"/>
              <a:gd name="T46" fmla="*/ 2147483647 w 7049"/>
              <a:gd name="T47" fmla="*/ 2147483647 h 2048"/>
              <a:gd name="T48" fmla="*/ 2147483647 w 7049"/>
              <a:gd name="T49" fmla="*/ 2147483647 h 2048"/>
              <a:gd name="T50" fmla="*/ 2147483647 w 7049"/>
              <a:gd name="T51" fmla="*/ 2147483647 h 2048"/>
              <a:gd name="T52" fmla="*/ 2147483647 w 7049"/>
              <a:gd name="T53" fmla="*/ 2147483647 h 2048"/>
              <a:gd name="T54" fmla="*/ 2147483647 w 7049"/>
              <a:gd name="T55" fmla="*/ 2147483647 h 2048"/>
              <a:gd name="T56" fmla="*/ 2147483647 w 7049"/>
              <a:gd name="T57" fmla="*/ 2147483647 h 2048"/>
              <a:gd name="T58" fmla="*/ 2147483647 w 7049"/>
              <a:gd name="T59" fmla="*/ 2147483647 h 2048"/>
              <a:gd name="T60" fmla="*/ 2147483647 w 7049"/>
              <a:gd name="T61" fmla="*/ 2147483647 h 2048"/>
              <a:gd name="T62" fmla="*/ 2147483647 w 7049"/>
              <a:gd name="T63" fmla="*/ 2147483647 h 2048"/>
              <a:gd name="T64" fmla="*/ 2147483647 w 7049"/>
              <a:gd name="T65" fmla="*/ 2147483647 h 2048"/>
              <a:gd name="T66" fmla="*/ 2147483647 w 7049"/>
              <a:gd name="T67" fmla="*/ 2147483647 h 2048"/>
              <a:gd name="T68" fmla="*/ 2147483647 w 7049"/>
              <a:gd name="T69" fmla="*/ 2147483647 h 2048"/>
              <a:gd name="T70" fmla="*/ 2147483647 w 7049"/>
              <a:gd name="T71" fmla="*/ 2147483647 h 2048"/>
              <a:gd name="T72" fmla="*/ 2147483647 w 7049"/>
              <a:gd name="T73" fmla="*/ 2147483647 h 2048"/>
              <a:gd name="T74" fmla="*/ 2147483647 w 7049"/>
              <a:gd name="T75" fmla="*/ 2147483647 h 2048"/>
              <a:gd name="T76" fmla="*/ 2147483647 w 7049"/>
              <a:gd name="T77" fmla="*/ 2147483647 h 2048"/>
              <a:gd name="T78" fmla="*/ 2147483647 w 7049"/>
              <a:gd name="T79" fmla="*/ 2147483647 h 2048"/>
              <a:gd name="T80" fmla="*/ 2147483647 w 7049"/>
              <a:gd name="T81" fmla="*/ 2147483647 h 2048"/>
              <a:gd name="T82" fmla="*/ 2147483647 w 7049"/>
              <a:gd name="T83" fmla="*/ 2147483647 h 2048"/>
              <a:gd name="T84" fmla="*/ 2147483647 w 7049"/>
              <a:gd name="T85" fmla="*/ 2147483647 h 2048"/>
              <a:gd name="T86" fmla="*/ 2147483647 w 7049"/>
              <a:gd name="T87" fmla="*/ 2147483647 h 2048"/>
              <a:gd name="T88" fmla="*/ 2147483647 w 7049"/>
              <a:gd name="T89" fmla="*/ 2147483647 h 2048"/>
              <a:gd name="T90" fmla="*/ 2147483647 w 7049"/>
              <a:gd name="T91" fmla="*/ 2147483647 h 2048"/>
              <a:gd name="T92" fmla="*/ 2147483647 w 7049"/>
              <a:gd name="T93" fmla="*/ 2147483647 h 2048"/>
              <a:gd name="T94" fmla="*/ 2147483647 w 7049"/>
              <a:gd name="T95" fmla="*/ 2147483647 h 2048"/>
              <a:gd name="T96" fmla="*/ 2147483647 w 7049"/>
              <a:gd name="T97" fmla="*/ 2147483647 h 2048"/>
              <a:gd name="T98" fmla="*/ 2147483647 w 7049"/>
              <a:gd name="T99" fmla="*/ 2147483647 h 2048"/>
              <a:gd name="T100" fmla="*/ 2147483647 w 7049"/>
              <a:gd name="T101" fmla="*/ 2147483647 h 2048"/>
              <a:gd name="T102" fmla="*/ 2147483647 w 7049"/>
              <a:gd name="T103" fmla="*/ 2147483647 h 2048"/>
              <a:gd name="T104" fmla="*/ 2147483647 w 7049"/>
              <a:gd name="T105" fmla="*/ 2147483647 h 2048"/>
              <a:gd name="T106" fmla="*/ 2147483647 w 7049"/>
              <a:gd name="T107" fmla="*/ 2147483647 h 2048"/>
              <a:gd name="T108" fmla="*/ 2147483647 w 7049"/>
              <a:gd name="T109" fmla="*/ 2147483647 h 2048"/>
              <a:gd name="T110" fmla="*/ 2147483647 w 7049"/>
              <a:gd name="T111" fmla="*/ 2147483647 h 2048"/>
              <a:gd name="T112" fmla="*/ 2147483647 w 7049"/>
              <a:gd name="T113" fmla="*/ 2147483647 h 2048"/>
              <a:gd name="T114" fmla="*/ 2147483647 w 7049"/>
              <a:gd name="T115" fmla="*/ 2147483647 h 2048"/>
              <a:gd name="T116" fmla="*/ 2147483647 w 7049"/>
              <a:gd name="T117" fmla="*/ 2147483647 h 2048"/>
              <a:gd name="T118" fmla="*/ 2147483647 w 7049"/>
              <a:gd name="T119" fmla="*/ 2147483647 h 2048"/>
              <a:gd name="T120" fmla="*/ 2147483647 w 7049"/>
              <a:gd name="T121" fmla="*/ 2147483647 h 2048"/>
              <a:gd name="T122" fmla="*/ 2147483647 w 7049"/>
              <a:gd name="T123" fmla="*/ 2147483647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049"/>
              <a:gd name="T187" fmla="*/ 0 h 2048"/>
              <a:gd name="T188" fmla="*/ 7049 w 7049"/>
              <a:gd name="T189" fmla="*/ 2048 h 204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85" name="Freeform 23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056063" y="1930400"/>
            <a:ext cx="261937" cy="231775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47"/>
              <a:gd name="T172" fmla="*/ 0 h 470"/>
              <a:gd name="T173" fmla="*/ 647 w 647"/>
              <a:gd name="T174" fmla="*/ 470 h 4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86" name="Freeform 24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445250" y="2619375"/>
            <a:ext cx="193675" cy="42386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79"/>
              <a:gd name="T169" fmla="*/ 0 h 868"/>
              <a:gd name="T170" fmla="*/ 479 w 479"/>
              <a:gd name="T171" fmla="*/ 868 h 8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7" name="Freeform 25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2819400" y="4843463"/>
            <a:ext cx="22225" cy="53975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88" name="Line 26" descr="Horizontal dunkel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1385888" y="1974850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" name="Freeform 27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389063" y="1971675"/>
            <a:ext cx="3175" cy="52388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chemeClr val="accent5">
              <a:lumMod val="2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GB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58" name="Freeform 28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366838" y="2022475"/>
            <a:ext cx="22225" cy="53975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GB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59" name="Freeform 29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601913" y="2017713"/>
            <a:ext cx="46037" cy="53975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GB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92" name="Freeform 30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154613" y="1604963"/>
            <a:ext cx="814387" cy="422275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06"/>
              <a:gd name="T175" fmla="*/ 0 h 863"/>
              <a:gd name="T176" fmla="*/ 2006 w 2006"/>
              <a:gd name="T177" fmla="*/ 863 h 86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93" name="Freeform 31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368925" y="1887538"/>
            <a:ext cx="381000" cy="233362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50"/>
              <a:gd name="T109" fmla="*/ 0 h 468"/>
              <a:gd name="T110" fmla="*/ 950 w 950"/>
              <a:gd name="T111" fmla="*/ 468 h 4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62" name="Freeform 32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257675" y="2822575"/>
            <a:ext cx="276225" cy="26987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63" name="Freeform 33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043488" y="2697163"/>
            <a:ext cx="141287" cy="158750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96" name="Freeform 34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541838" y="1770063"/>
            <a:ext cx="115887" cy="52387"/>
          </a:xfrm>
          <a:custGeom>
            <a:avLst/>
            <a:gdLst>
              <a:gd name="T0" fmla="*/ 2147483647 w 292"/>
              <a:gd name="T1" fmla="*/ 0 h 99"/>
              <a:gd name="T2" fmla="*/ 2147483647 w 292"/>
              <a:gd name="T3" fmla="*/ 0 h 99"/>
              <a:gd name="T4" fmla="*/ 2147483647 w 292"/>
              <a:gd name="T5" fmla="*/ 2147483647 h 99"/>
              <a:gd name="T6" fmla="*/ 2147483647 w 292"/>
              <a:gd name="T7" fmla="*/ 2147483647 h 99"/>
              <a:gd name="T8" fmla="*/ 2147483647 w 292"/>
              <a:gd name="T9" fmla="*/ 2147483647 h 99"/>
              <a:gd name="T10" fmla="*/ 2147483647 w 292"/>
              <a:gd name="T11" fmla="*/ 2147483647 h 99"/>
              <a:gd name="T12" fmla="*/ 2147483647 w 292"/>
              <a:gd name="T13" fmla="*/ 2147483647 h 99"/>
              <a:gd name="T14" fmla="*/ 2147483647 w 292"/>
              <a:gd name="T15" fmla="*/ 2147483647 h 99"/>
              <a:gd name="T16" fmla="*/ 2147483647 w 292"/>
              <a:gd name="T17" fmla="*/ 2147483647 h 99"/>
              <a:gd name="T18" fmla="*/ 2147483647 w 292"/>
              <a:gd name="T19" fmla="*/ 2147483647 h 99"/>
              <a:gd name="T20" fmla="*/ 2147483647 w 292"/>
              <a:gd name="T21" fmla="*/ 2147483647 h 99"/>
              <a:gd name="T22" fmla="*/ 2147483647 w 292"/>
              <a:gd name="T23" fmla="*/ 2147483647 h 99"/>
              <a:gd name="T24" fmla="*/ 2147483647 w 292"/>
              <a:gd name="T25" fmla="*/ 2147483647 h 99"/>
              <a:gd name="T26" fmla="*/ 2147483647 w 292"/>
              <a:gd name="T27" fmla="*/ 2147483647 h 99"/>
              <a:gd name="T28" fmla="*/ 2147483647 w 292"/>
              <a:gd name="T29" fmla="*/ 2147483647 h 99"/>
              <a:gd name="T30" fmla="*/ 2147483647 w 292"/>
              <a:gd name="T31" fmla="*/ 2147483647 h 99"/>
              <a:gd name="T32" fmla="*/ 2147483647 w 292"/>
              <a:gd name="T33" fmla="*/ 2147483647 h 99"/>
              <a:gd name="T34" fmla="*/ 2147483647 w 292"/>
              <a:gd name="T35" fmla="*/ 2147483647 h 99"/>
              <a:gd name="T36" fmla="*/ 0 w 292"/>
              <a:gd name="T37" fmla="*/ 2147483647 h 99"/>
              <a:gd name="T38" fmla="*/ 2147483647 w 292"/>
              <a:gd name="T39" fmla="*/ 2147483647 h 99"/>
              <a:gd name="T40" fmla="*/ 2147483647 w 292"/>
              <a:gd name="T41" fmla="*/ 2147483647 h 99"/>
              <a:gd name="T42" fmla="*/ 2147483647 w 292"/>
              <a:gd name="T43" fmla="*/ 2147483647 h 99"/>
              <a:gd name="T44" fmla="*/ 2147483647 w 292"/>
              <a:gd name="T45" fmla="*/ 2147483647 h 99"/>
              <a:gd name="T46" fmla="*/ 2147483647 w 292"/>
              <a:gd name="T47" fmla="*/ 2147483647 h 99"/>
              <a:gd name="T48" fmla="*/ 2147483647 w 292"/>
              <a:gd name="T49" fmla="*/ 2147483647 h 99"/>
              <a:gd name="T50" fmla="*/ 2147483647 w 292"/>
              <a:gd name="T51" fmla="*/ 2147483647 h 99"/>
              <a:gd name="T52" fmla="*/ 2147483647 w 292"/>
              <a:gd name="T53" fmla="*/ 2147483647 h 99"/>
              <a:gd name="T54" fmla="*/ 2147483647 w 292"/>
              <a:gd name="T55" fmla="*/ 2147483647 h 99"/>
              <a:gd name="T56" fmla="*/ 2147483647 w 292"/>
              <a:gd name="T57" fmla="*/ 2147483647 h 99"/>
              <a:gd name="T58" fmla="*/ 2147483647 w 292"/>
              <a:gd name="T59" fmla="*/ 2147483647 h 99"/>
              <a:gd name="T60" fmla="*/ 2147483647 w 292"/>
              <a:gd name="T61" fmla="*/ 2147483647 h 99"/>
              <a:gd name="T62" fmla="*/ 2147483647 w 292"/>
              <a:gd name="T63" fmla="*/ 214748364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2"/>
              <a:gd name="T97" fmla="*/ 0 h 99"/>
              <a:gd name="T98" fmla="*/ 292 w 292"/>
              <a:gd name="T99" fmla="*/ 99 h 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065" name="Freeform 35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46700" y="2441575"/>
            <a:ext cx="17463" cy="52388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9" name="Freeform 36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457825" y="2446338"/>
            <a:ext cx="12700" cy="52387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99" name="Freeform 37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6843713" y="3060700"/>
            <a:ext cx="41275" cy="53975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6"/>
              <a:gd name="T139" fmla="*/ 0 h 71"/>
              <a:gd name="T140" fmla="*/ 106 w 106"/>
              <a:gd name="T141" fmla="*/ 71 h 7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3" name="Group 38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2977950" y="4746037"/>
            <a:ext cx="60654" cy="51778"/>
            <a:chOff x="1654" y="3671"/>
            <a:chExt cx="49" cy="17"/>
          </a:xfrm>
          <a:solidFill>
            <a:schemeClr val="accent5"/>
          </a:solidFill>
        </p:grpSpPr>
        <p:sp>
          <p:nvSpPr>
            <p:cNvPr id="2069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70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071" name="Freeform 41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649538" y="2690813"/>
            <a:ext cx="30162" cy="55562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72" name="Freeform 42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701925" y="2697163"/>
            <a:ext cx="1588" cy="53975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73" name="Freeform 43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713038" y="2698750"/>
            <a:ext cx="6350" cy="53975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74" name="Freeform 44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725738" y="2689225"/>
            <a:ext cx="7937" cy="53975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" name="Freeform 45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706688" y="2682875"/>
            <a:ext cx="11112" cy="53975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" name="Freeform 46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752725" y="2708275"/>
            <a:ext cx="14288" cy="57150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07" name="Line 47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 flipV="1">
            <a:off x="2760663" y="2706688"/>
            <a:ext cx="6350" cy="79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08" name="Line 48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 flipH="1">
            <a:off x="2760663" y="2728913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" name="Freeform 49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760663" y="2725738"/>
            <a:ext cx="9525" cy="53975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" name="Freeform 50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767013" y="2751138"/>
            <a:ext cx="15875" cy="52387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" name="Freeform 51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771775" y="2795588"/>
            <a:ext cx="15875" cy="53975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" name="Freeform 52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781300" y="2819400"/>
            <a:ext cx="3175" cy="53975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83" name="Freeform 53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01938" y="2847975"/>
            <a:ext cx="1587" cy="52388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6" name="Freeform 54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767013" y="2859088"/>
            <a:ext cx="14287" cy="55562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7" name="Freeform 55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752725" y="2921000"/>
            <a:ext cx="22225" cy="52388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8" name="Freeform 56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770188" y="2898775"/>
            <a:ext cx="12700" cy="52388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87" name="Freeform 57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2289175" y="2592388"/>
            <a:ext cx="14288" cy="52387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4" name="Group 58"/>
          <p:cNvGrpSpPr>
            <a:grpSpLocks/>
          </p:cNvGrpSpPr>
          <p:nvPr>
            <p:custDataLst>
              <p:tags r:id="rId52"/>
            </p:custDataLst>
          </p:nvPr>
        </p:nvGrpSpPr>
        <p:grpSpPr bwMode="auto">
          <a:xfrm>
            <a:off x="2405434" y="2436745"/>
            <a:ext cx="122788" cy="181962"/>
            <a:chOff x="1199" y="2121"/>
            <a:chExt cx="97" cy="123"/>
          </a:xfrm>
          <a:solidFill>
            <a:schemeClr val="accent5"/>
          </a:solidFill>
        </p:grpSpPr>
        <p:sp>
          <p:nvSpPr>
            <p:cNvPr id="2089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0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1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9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0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4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5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1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7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098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119" name="Freeform 69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823200" y="3767138"/>
            <a:ext cx="11113" cy="52387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0" name="Freeform 70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831138" y="3851275"/>
            <a:ext cx="9525" cy="53975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1" name="Freeform 71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937500" y="3767138"/>
            <a:ext cx="73025" cy="120650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2" name="Freeform 72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937500" y="3741738"/>
            <a:ext cx="14288" cy="52387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5" name="Group 73"/>
          <p:cNvGrpSpPr>
            <a:grpSpLocks/>
          </p:cNvGrpSpPr>
          <p:nvPr>
            <p:custDataLst>
              <p:tags r:id="rId57"/>
            </p:custDataLst>
          </p:nvPr>
        </p:nvGrpSpPr>
        <p:grpSpPr bwMode="auto">
          <a:xfrm>
            <a:off x="7649793" y="4226780"/>
            <a:ext cx="427537" cy="377238"/>
            <a:chOff x="5372" y="3323"/>
            <a:chExt cx="341" cy="253"/>
          </a:xfrm>
          <a:solidFill>
            <a:srgbClr val="92D050"/>
          </a:solidFill>
        </p:grpSpPr>
        <p:sp>
          <p:nvSpPr>
            <p:cNvPr id="2104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05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06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124" name="Freeform 77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316788" y="2974975"/>
            <a:ext cx="9525" cy="53975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"/>
              <a:gd name="T43" fmla="*/ 0 h 62"/>
              <a:gd name="T44" fmla="*/ 21 w 21"/>
              <a:gd name="T45" fmla="*/ 62 h 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5" name="Freeform 78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994650" y="3814763"/>
            <a:ext cx="12700" cy="53975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6" name="Freeform 79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015288" y="3824288"/>
            <a:ext cx="15875" cy="55562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7" name="Freeform 80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375525" y="2965450"/>
            <a:ext cx="1588" cy="50800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  <a:gd name="T9" fmla="*/ 0 w 7"/>
              <a:gd name="T10" fmla="*/ 0 h 55563"/>
              <a:gd name="T11" fmla="*/ 7 w 7"/>
              <a:gd name="T12" fmla="*/ 55563 h 555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8" name="Freeform 81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431088" y="2913063"/>
            <a:ext cx="6350" cy="53975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"/>
              <a:gd name="T46" fmla="*/ 0 h 25"/>
              <a:gd name="T47" fmla="*/ 16 w 16"/>
              <a:gd name="T48" fmla="*/ 25 h 2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29" name="Freeform 82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535863" y="2809875"/>
            <a:ext cx="4762" cy="52388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8"/>
              <a:gd name="T26" fmla="*/ 14 w 14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0" name="Freeform 83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677150" y="3460750"/>
            <a:ext cx="25400" cy="53975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7"/>
              <a:gd name="T70" fmla="*/ 0 h 74"/>
              <a:gd name="T71" fmla="*/ 67 w 67"/>
              <a:gd name="T72" fmla="*/ 74 h 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1" name="Freeform 84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737475" y="3473450"/>
            <a:ext cx="11113" cy="53975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4"/>
              <a:gd name="T70" fmla="*/ 0 h 38"/>
              <a:gd name="T71" fmla="*/ 34 w 34"/>
              <a:gd name="T72" fmla="*/ 38 h 3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2" name="Freeform 85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04125" y="3265488"/>
            <a:ext cx="23813" cy="50800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3"/>
              <a:gd name="T34" fmla="*/ 0 h 23"/>
              <a:gd name="T35" fmla="*/ 53 w 53"/>
              <a:gd name="T36" fmla="*/ 23 h 2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3" name="Freeform 86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550150" y="3241675"/>
            <a:ext cx="11113" cy="52388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2"/>
              <a:gd name="T35" fmla="*/ 26 w 26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4" name="Freeform 87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37475" y="3551238"/>
            <a:ext cx="28575" cy="52387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5" name="Freeform 88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696200" y="3540125"/>
            <a:ext cx="20638" cy="53975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6" name="Line 89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>
            <a:off x="7726363" y="3527425"/>
            <a:ext cx="19050" cy="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7" name="Freeform 90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45413" y="3532188"/>
            <a:ext cx="1587" cy="53975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  <a:gd name="T9" fmla="*/ 0 w 1588"/>
              <a:gd name="T10" fmla="*/ 0 h 13"/>
              <a:gd name="T11" fmla="*/ 1588 w 1588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8" name="Freeform 91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02550" y="3527425"/>
            <a:ext cx="14288" cy="53975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  <a:gd name="T9" fmla="*/ 0 w 26"/>
              <a:gd name="T10" fmla="*/ 0 h 58738"/>
              <a:gd name="T11" fmla="*/ 26 w 26"/>
              <a:gd name="T12" fmla="*/ 58738 h 587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39" name="Freeform 92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697788" y="3509963"/>
            <a:ext cx="4762" cy="55562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5"/>
              <a:gd name="T23" fmla="*/ 20 w 20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0" name="Freeform 93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772400" y="3254375"/>
            <a:ext cx="1588" cy="53975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24"/>
              <a:gd name="T14" fmla="*/ 6 w 6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6" name="Group 94"/>
          <p:cNvGrpSpPr>
            <a:grpSpLocks/>
          </p:cNvGrpSpPr>
          <p:nvPr>
            <p:custDataLst>
              <p:tags r:id="rId75"/>
            </p:custDataLst>
          </p:nvPr>
        </p:nvGrpSpPr>
        <p:grpSpPr bwMode="auto">
          <a:xfrm>
            <a:off x="7655711" y="2948606"/>
            <a:ext cx="152374" cy="106514"/>
            <a:chOff x="5379" y="2466"/>
            <a:chExt cx="122" cy="71"/>
          </a:xfrm>
          <a:solidFill>
            <a:srgbClr val="92D050"/>
          </a:solidFill>
        </p:grpSpPr>
        <p:sp>
          <p:nvSpPr>
            <p:cNvPr id="2208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09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0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1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2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3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4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5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16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142" name="Freeform 104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335713" y="2819400"/>
            <a:ext cx="6350" cy="53975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"/>
              <a:gd name="T73" fmla="*/ 0 h 111"/>
              <a:gd name="T74" fmla="*/ 26 w 26"/>
              <a:gd name="T75" fmla="*/ 111 h 11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17" name="Freeform 105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446463" y="4813300"/>
            <a:ext cx="50800" cy="55563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44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599363" y="1654175"/>
            <a:ext cx="19050" cy="53975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6"/>
              <a:gd name="T38" fmla="*/ 46 w 46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5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764463" y="1685925"/>
            <a:ext cx="14287" cy="52388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9"/>
              <a:gd name="T46" fmla="*/ 0 h 26"/>
              <a:gd name="T47" fmla="*/ 39 w 39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6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50113" y="1900238"/>
            <a:ext cx="4762" cy="53975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25"/>
              <a:gd name="T41" fmla="*/ 11 w 11"/>
              <a:gd name="T42" fmla="*/ 25 h 2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7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077075" y="2424113"/>
            <a:ext cx="14288" cy="53975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"/>
              <a:gd name="T40" fmla="*/ 0 h 31"/>
              <a:gd name="T41" fmla="*/ 20 w 20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8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092950" y="2362200"/>
            <a:ext cx="15875" cy="53975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37"/>
              <a:gd name="T38" fmla="*/ 26 w 26"/>
              <a:gd name="T39" fmla="*/ 37 h 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49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6989763" y="2222500"/>
            <a:ext cx="1587" cy="55563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8"/>
              <a:gd name="T14" fmla="*/ 7 w 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50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056063" y="1408113"/>
            <a:ext cx="9525" cy="5397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31"/>
              <a:gd name="T38" fmla="*/ 33 w 3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51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043363" y="1192213"/>
            <a:ext cx="3175" cy="53975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  <a:gd name="T9" fmla="*/ 0 w 14"/>
              <a:gd name="T10" fmla="*/ 0 h 6"/>
              <a:gd name="T11" fmla="*/ 14 w 14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18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422900" y="2849563"/>
            <a:ext cx="23813" cy="52387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146675" y="2720975"/>
            <a:ext cx="17463" cy="53975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65676" y="2895349"/>
            <a:ext cx="42901" cy="349131"/>
            <a:chOff x="3950" y="2430"/>
            <a:chExt cx="36" cy="234"/>
          </a:xfrm>
          <a:solidFill>
            <a:srgbClr val="92D050"/>
          </a:solidFill>
        </p:grpSpPr>
        <p:sp>
          <p:nvSpPr>
            <p:cNvPr id="2257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58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59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260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2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3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4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5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6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7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8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59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0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1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2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3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4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5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6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7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8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69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0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1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2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3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4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5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6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7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78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790333" y="3361349"/>
            <a:ext cx="173087" cy="199715"/>
            <a:chOff x="5486" y="2743"/>
            <a:chExt cx="137" cy="132"/>
          </a:xfrm>
          <a:solidFill>
            <a:srgbClr val="92D050"/>
          </a:solidFill>
        </p:grpSpPr>
        <p:sp>
          <p:nvSpPr>
            <p:cNvPr id="2180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1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2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3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4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5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6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7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88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18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384675" y="3117850"/>
            <a:ext cx="11113" cy="50800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9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313238" y="3248025"/>
            <a:ext cx="14287" cy="52388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6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89638" y="1687513"/>
            <a:ext cx="679450" cy="309562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88"/>
              <a:gd name="T178" fmla="*/ 0 h 630"/>
              <a:gd name="T179" fmla="*/ 1688 w 1688"/>
              <a:gd name="T180" fmla="*/ 630 h 63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9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566988" y="3521075"/>
            <a:ext cx="306387" cy="387350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9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767013" y="2989263"/>
            <a:ext cx="111125" cy="201612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9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500113" y="2836174"/>
            <a:ext cx="301791" cy="374280"/>
            <a:chOff x="1486" y="2412"/>
            <a:chExt cx="244" cy="256"/>
          </a:xfrm>
          <a:solidFill>
            <a:schemeClr val="accent5"/>
          </a:solidFill>
        </p:grpSpPr>
        <p:sp>
          <p:nvSpPr>
            <p:cNvPr id="2195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96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97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198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261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178675" y="4270375"/>
            <a:ext cx="30163" cy="11113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23"/>
              <a:gd name="T77" fmla="*/ 79 w 79"/>
              <a:gd name="T78" fmla="*/ 23 h 2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64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286625" y="4395788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  <a:gd name="T9" fmla="*/ 0 w 1588"/>
              <a:gd name="T10" fmla="*/ 0 h 6"/>
              <a:gd name="T11" fmla="*/ 1588 w 1588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36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372350" y="4394200"/>
            <a:ext cx="1588" cy="1111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37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372350" y="4394200"/>
            <a:ext cx="1588" cy="14288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30"/>
              <a:gd name="T29" fmla="*/ 5 w 5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38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650163" y="3900488"/>
            <a:ext cx="20637" cy="25400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39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654925" y="3832225"/>
            <a:ext cx="25400" cy="36513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0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634288" y="3810000"/>
            <a:ext cx="15875" cy="26988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1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558088" y="3695700"/>
            <a:ext cx="63500" cy="128588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9"/>
              <a:gd name="T112" fmla="*/ 0 h 259"/>
              <a:gd name="T113" fmla="*/ 159 w 159"/>
              <a:gd name="T114" fmla="*/ 259 h 25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2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551738" y="3663950"/>
            <a:ext cx="6350" cy="317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551738" y="3649663"/>
            <a:ext cx="6350" cy="14287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558088" y="3638550"/>
            <a:ext cx="0" cy="1111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15225" y="3576638"/>
            <a:ext cx="42863" cy="61912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4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27925" y="3522663"/>
            <a:ext cx="1588" cy="47625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99"/>
              <a:gd name="T23" fmla="*/ 5 w 5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34275" y="3516313"/>
            <a:ext cx="7938" cy="34925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68"/>
              <a:gd name="T17" fmla="*/ 14 w 14"/>
              <a:gd name="T18" fmla="*/ 68 h 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548563" y="3498850"/>
            <a:ext cx="1587" cy="20638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43"/>
              <a:gd name="T17" fmla="*/ 1587 w 1587"/>
              <a:gd name="T18" fmla="*/ 43 h 4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3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548563" y="3516313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4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34275" y="3502025"/>
            <a:ext cx="1588" cy="14288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31"/>
              <a:gd name="T17" fmla="*/ 1587 w 158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179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273925" y="4422775"/>
            <a:ext cx="90488" cy="82550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167"/>
              <a:gd name="T101" fmla="*/ 225 w 225"/>
              <a:gd name="T102" fmla="*/ 167 h 1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02513" y="3695700"/>
            <a:ext cx="3175" cy="15875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"/>
              <a:gd name="T28" fmla="*/ 0 h 31"/>
              <a:gd name="T29" fmla="*/ 7 w 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40600" y="3622675"/>
            <a:ext cx="14288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3"/>
              <a:gd name="T49" fmla="*/ 0 h 31"/>
              <a:gd name="T50" fmla="*/ 33 w 33"/>
              <a:gd name="T51" fmla="*/ 31 h 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354888" y="3541713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19"/>
              <a:gd name="T26" fmla="*/ 13 w 13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05663" y="3544888"/>
            <a:ext cx="34925" cy="20637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7"/>
              <a:gd name="T76" fmla="*/ 0 h 42"/>
              <a:gd name="T77" fmla="*/ 87 w 87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5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34263" y="3976688"/>
            <a:ext cx="1587" cy="12700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31"/>
              <a:gd name="T17" fmla="*/ 7 w 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6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1475" y="3516313"/>
            <a:ext cx="950913" cy="846137"/>
          </a:xfrm>
          <a:custGeom>
            <a:avLst/>
            <a:gdLst>
              <a:gd name="T0" fmla="*/ 2147483647 w 2332"/>
              <a:gd name="T1" fmla="*/ 2147483647 h 1731"/>
              <a:gd name="T2" fmla="*/ 2147483647 w 2332"/>
              <a:gd name="T3" fmla="*/ 2147483647 h 1731"/>
              <a:gd name="T4" fmla="*/ 2147483647 w 2332"/>
              <a:gd name="T5" fmla="*/ 2147483647 h 1731"/>
              <a:gd name="T6" fmla="*/ 2147483647 w 2332"/>
              <a:gd name="T7" fmla="*/ 2147483647 h 1731"/>
              <a:gd name="T8" fmla="*/ 2147483647 w 2332"/>
              <a:gd name="T9" fmla="*/ 2147483647 h 1731"/>
              <a:gd name="T10" fmla="*/ 2147483647 w 2332"/>
              <a:gd name="T11" fmla="*/ 2147483647 h 1731"/>
              <a:gd name="T12" fmla="*/ 2147483647 w 2332"/>
              <a:gd name="T13" fmla="*/ 2147483647 h 1731"/>
              <a:gd name="T14" fmla="*/ 2147483647 w 2332"/>
              <a:gd name="T15" fmla="*/ 2147483647 h 1731"/>
              <a:gd name="T16" fmla="*/ 2147483647 w 2332"/>
              <a:gd name="T17" fmla="*/ 2147483647 h 1731"/>
              <a:gd name="T18" fmla="*/ 2147483647 w 2332"/>
              <a:gd name="T19" fmla="*/ 2147483647 h 1731"/>
              <a:gd name="T20" fmla="*/ 2147483647 w 2332"/>
              <a:gd name="T21" fmla="*/ 2147483647 h 1731"/>
              <a:gd name="T22" fmla="*/ 2147483647 w 2332"/>
              <a:gd name="T23" fmla="*/ 2147483647 h 1731"/>
              <a:gd name="T24" fmla="*/ 2147483647 w 2332"/>
              <a:gd name="T25" fmla="*/ 2147483647 h 1731"/>
              <a:gd name="T26" fmla="*/ 2147483647 w 2332"/>
              <a:gd name="T27" fmla="*/ 2147483647 h 1731"/>
              <a:gd name="T28" fmla="*/ 2147483647 w 2332"/>
              <a:gd name="T29" fmla="*/ 2147483647 h 1731"/>
              <a:gd name="T30" fmla="*/ 2147483647 w 2332"/>
              <a:gd name="T31" fmla="*/ 2147483647 h 1731"/>
              <a:gd name="T32" fmla="*/ 2147483647 w 2332"/>
              <a:gd name="T33" fmla="*/ 2147483647 h 1731"/>
              <a:gd name="T34" fmla="*/ 2147483647 w 2332"/>
              <a:gd name="T35" fmla="*/ 2147483647 h 1731"/>
              <a:gd name="T36" fmla="*/ 2147483647 w 2332"/>
              <a:gd name="T37" fmla="*/ 2147483647 h 1731"/>
              <a:gd name="T38" fmla="*/ 2147483647 w 2332"/>
              <a:gd name="T39" fmla="*/ 2147483647 h 1731"/>
              <a:gd name="T40" fmla="*/ 2147483647 w 2332"/>
              <a:gd name="T41" fmla="*/ 2147483647 h 1731"/>
              <a:gd name="T42" fmla="*/ 2147483647 w 2332"/>
              <a:gd name="T43" fmla="*/ 2147483647 h 1731"/>
              <a:gd name="T44" fmla="*/ 2147483647 w 2332"/>
              <a:gd name="T45" fmla="*/ 2147483647 h 1731"/>
              <a:gd name="T46" fmla="*/ 2147483647 w 2332"/>
              <a:gd name="T47" fmla="*/ 2147483647 h 1731"/>
              <a:gd name="T48" fmla="*/ 2147483647 w 2332"/>
              <a:gd name="T49" fmla="*/ 2147483647 h 1731"/>
              <a:gd name="T50" fmla="*/ 2147483647 w 2332"/>
              <a:gd name="T51" fmla="*/ 2147483647 h 1731"/>
              <a:gd name="T52" fmla="*/ 2147483647 w 2332"/>
              <a:gd name="T53" fmla="*/ 2147483647 h 1731"/>
              <a:gd name="T54" fmla="*/ 2147483647 w 2332"/>
              <a:gd name="T55" fmla="*/ 2147483647 h 1731"/>
              <a:gd name="T56" fmla="*/ 2147483647 w 2332"/>
              <a:gd name="T57" fmla="*/ 2147483647 h 1731"/>
              <a:gd name="T58" fmla="*/ 2147483647 w 2332"/>
              <a:gd name="T59" fmla="*/ 2147483647 h 1731"/>
              <a:gd name="T60" fmla="*/ 2147483647 w 2332"/>
              <a:gd name="T61" fmla="*/ 2147483647 h 1731"/>
              <a:gd name="T62" fmla="*/ 2147483647 w 2332"/>
              <a:gd name="T63" fmla="*/ 2147483647 h 1731"/>
              <a:gd name="T64" fmla="*/ 2147483647 w 2332"/>
              <a:gd name="T65" fmla="*/ 2147483647 h 1731"/>
              <a:gd name="T66" fmla="*/ 2147483647 w 2332"/>
              <a:gd name="T67" fmla="*/ 2147483647 h 1731"/>
              <a:gd name="T68" fmla="*/ 2147483647 w 2332"/>
              <a:gd name="T69" fmla="*/ 2147483647 h 1731"/>
              <a:gd name="T70" fmla="*/ 2147483647 w 2332"/>
              <a:gd name="T71" fmla="*/ 2147483647 h 1731"/>
              <a:gd name="T72" fmla="*/ 2147483647 w 2332"/>
              <a:gd name="T73" fmla="*/ 2147483647 h 1731"/>
              <a:gd name="T74" fmla="*/ 2147483647 w 2332"/>
              <a:gd name="T75" fmla="*/ 2147483647 h 1731"/>
              <a:gd name="T76" fmla="*/ 2147483647 w 2332"/>
              <a:gd name="T77" fmla="*/ 2147483647 h 1731"/>
              <a:gd name="T78" fmla="*/ 2147483647 w 2332"/>
              <a:gd name="T79" fmla="*/ 2147483647 h 1731"/>
              <a:gd name="T80" fmla="*/ 2147483647 w 2332"/>
              <a:gd name="T81" fmla="*/ 2147483647 h 1731"/>
              <a:gd name="T82" fmla="*/ 2147483647 w 2332"/>
              <a:gd name="T83" fmla="*/ 2147483647 h 1731"/>
              <a:gd name="T84" fmla="*/ 2147483647 w 2332"/>
              <a:gd name="T85" fmla="*/ 2147483647 h 1731"/>
              <a:gd name="T86" fmla="*/ 2147483647 w 2332"/>
              <a:gd name="T87" fmla="*/ 2147483647 h 1731"/>
              <a:gd name="T88" fmla="*/ 2147483647 w 2332"/>
              <a:gd name="T89" fmla="*/ 2147483647 h 1731"/>
              <a:gd name="T90" fmla="*/ 2147483647 w 2332"/>
              <a:gd name="T91" fmla="*/ 2147483647 h 1731"/>
              <a:gd name="T92" fmla="*/ 2147483647 w 2332"/>
              <a:gd name="T93" fmla="*/ 2147483647 h 1731"/>
              <a:gd name="T94" fmla="*/ 2147483647 w 2332"/>
              <a:gd name="T95" fmla="*/ 2147483647 h 1731"/>
              <a:gd name="T96" fmla="*/ 2147483647 w 2332"/>
              <a:gd name="T97" fmla="*/ 2147483647 h 1731"/>
              <a:gd name="T98" fmla="*/ 2147483647 w 2332"/>
              <a:gd name="T99" fmla="*/ 2147483647 h 1731"/>
              <a:gd name="T100" fmla="*/ 2147483647 w 2332"/>
              <a:gd name="T101" fmla="*/ 2147483647 h 1731"/>
              <a:gd name="T102" fmla="*/ 2147483647 w 2332"/>
              <a:gd name="T103" fmla="*/ 2147483647 h 1731"/>
              <a:gd name="T104" fmla="*/ 2147483647 w 2332"/>
              <a:gd name="T105" fmla="*/ 2147483647 h 1731"/>
              <a:gd name="T106" fmla="*/ 2147483647 w 2332"/>
              <a:gd name="T107" fmla="*/ 2147483647 h 1731"/>
              <a:gd name="T108" fmla="*/ 2147483647 w 2332"/>
              <a:gd name="T109" fmla="*/ 2147483647 h 1731"/>
              <a:gd name="T110" fmla="*/ 2147483647 w 2332"/>
              <a:gd name="T111" fmla="*/ 2147483647 h 1731"/>
              <a:gd name="T112" fmla="*/ 2147483647 w 2332"/>
              <a:gd name="T113" fmla="*/ 2147483647 h 1731"/>
              <a:gd name="T114" fmla="*/ 2147483647 w 2332"/>
              <a:gd name="T115" fmla="*/ 2147483647 h 1731"/>
              <a:gd name="T116" fmla="*/ 2147483647 w 2332"/>
              <a:gd name="T117" fmla="*/ 2147483647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32"/>
              <a:gd name="T178" fmla="*/ 0 h 1731"/>
              <a:gd name="T179" fmla="*/ 2332 w 2332"/>
              <a:gd name="T180" fmla="*/ 1731 h 173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23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584325" y="2273300"/>
            <a:ext cx="622300" cy="5429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4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771775" y="3802063"/>
            <a:ext cx="196850" cy="247650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5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930525" y="3060700"/>
            <a:ext cx="68263" cy="103188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6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478088" y="2649538"/>
            <a:ext cx="65087" cy="55562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7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819400" y="4843463"/>
            <a:ext cx="22225" cy="53975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8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787650" y="4824413"/>
            <a:ext cx="31750" cy="53975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29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787650" y="4805363"/>
            <a:ext cx="20638" cy="55562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0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759075" y="4799013"/>
            <a:ext cx="23813" cy="57150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1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35263" y="4791075"/>
            <a:ext cx="26987" cy="53975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2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713038" y="4778375"/>
            <a:ext cx="31750" cy="53975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3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706688" y="4760913"/>
            <a:ext cx="28575" cy="52387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4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614613" y="4471988"/>
            <a:ext cx="23812" cy="57150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5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641600" y="4560888"/>
            <a:ext cx="17463" cy="50800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6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646363" y="4581525"/>
            <a:ext cx="7937" cy="55563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7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660650" y="4640263"/>
            <a:ext cx="15875" cy="55562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8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647950" y="4651375"/>
            <a:ext cx="25400" cy="53975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39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676525" y="4683125"/>
            <a:ext cx="9525" cy="53975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0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673350" y="4713288"/>
            <a:ext cx="19050" cy="52387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1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695575" y="4727575"/>
            <a:ext cx="15875" cy="52388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2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697163" y="4752975"/>
            <a:ext cx="6350" cy="53975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3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767013" y="4818063"/>
            <a:ext cx="31750" cy="53975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4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801938" y="4764088"/>
            <a:ext cx="115887" cy="93662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5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384425" y="2682875"/>
            <a:ext cx="49213" cy="53975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6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251075" y="2554288"/>
            <a:ext cx="234950" cy="101600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7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535238" y="2649538"/>
            <a:ext cx="82550" cy="65087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8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133600" y="2706688"/>
            <a:ext cx="30163" cy="7778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49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058988" y="2706688"/>
            <a:ext cx="87312" cy="134937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0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103438" y="2809875"/>
            <a:ext cx="66675" cy="52388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1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133600" y="2773363"/>
            <a:ext cx="133350" cy="82550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2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149475" y="2801938"/>
            <a:ext cx="117475" cy="114300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3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197100" y="2906713"/>
            <a:ext cx="77788" cy="9366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4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271713" y="2957513"/>
            <a:ext cx="133350" cy="74612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55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906713" y="4125913"/>
            <a:ext cx="123825" cy="144462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19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348163" y="973138"/>
            <a:ext cx="220662" cy="8572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20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279900" y="1187450"/>
            <a:ext cx="419100" cy="338138"/>
          </a:xfrm>
          <a:custGeom>
            <a:avLst/>
            <a:gdLst>
              <a:gd name="T0" fmla="*/ 2147483647 w 1037"/>
              <a:gd name="T1" fmla="*/ 2147483647 h 690"/>
              <a:gd name="T2" fmla="*/ 2147483647 w 1037"/>
              <a:gd name="T3" fmla="*/ 2147483647 h 690"/>
              <a:gd name="T4" fmla="*/ 2147483647 w 1037"/>
              <a:gd name="T5" fmla="*/ 2147483647 h 690"/>
              <a:gd name="T6" fmla="*/ 2147483647 w 1037"/>
              <a:gd name="T7" fmla="*/ 2147483647 h 690"/>
              <a:gd name="T8" fmla="*/ 2147483647 w 1037"/>
              <a:gd name="T9" fmla="*/ 2147483647 h 690"/>
              <a:gd name="T10" fmla="*/ 2147483647 w 1037"/>
              <a:gd name="T11" fmla="*/ 2147483647 h 690"/>
              <a:gd name="T12" fmla="*/ 2147483647 w 1037"/>
              <a:gd name="T13" fmla="*/ 2147483647 h 690"/>
              <a:gd name="T14" fmla="*/ 2147483647 w 1037"/>
              <a:gd name="T15" fmla="*/ 2147483647 h 690"/>
              <a:gd name="T16" fmla="*/ 2147483647 w 1037"/>
              <a:gd name="T17" fmla="*/ 2147483647 h 690"/>
              <a:gd name="T18" fmla="*/ 0 w 1037"/>
              <a:gd name="T19" fmla="*/ 2147483647 h 690"/>
              <a:gd name="T20" fmla="*/ 2147483647 w 1037"/>
              <a:gd name="T21" fmla="*/ 2147483647 h 690"/>
              <a:gd name="T22" fmla="*/ 2147483647 w 1037"/>
              <a:gd name="T23" fmla="*/ 2147483647 h 690"/>
              <a:gd name="T24" fmla="*/ 2147483647 w 1037"/>
              <a:gd name="T25" fmla="*/ 2147483647 h 690"/>
              <a:gd name="T26" fmla="*/ 2147483647 w 1037"/>
              <a:gd name="T27" fmla="*/ 2147483647 h 690"/>
              <a:gd name="T28" fmla="*/ 2147483647 w 1037"/>
              <a:gd name="T29" fmla="*/ 2147483647 h 690"/>
              <a:gd name="T30" fmla="*/ 2147483647 w 1037"/>
              <a:gd name="T31" fmla="*/ 2147483647 h 690"/>
              <a:gd name="T32" fmla="*/ 2147483647 w 1037"/>
              <a:gd name="T33" fmla="*/ 2147483647 h 690"/>
              <a:gd name="T34" fmla="*/ 2147483647 w 1037"/>
              <a:gd name="T35" fmla="*/ 2147483647 h 690"/>
              <a:gd name="T36" fmla="*/ 2147483647 w 1037"/>
              <a:gd name="T37" fmla="*/ 2147483647 h 690"/>
              <a:gd name="T38" fmla="*/ 2147483647 w 1037"/>
              <a:gd name="T39" fmla="*/ 2147483647 h 690"/>
              <a:gd name="T40" fmla="*/ 2147483647 w 1037"/>
              <a:gd name="T41" fmla="*/ 2147483647 h 690"/>
              <a:gd name="T42" fmla="*/ 2147483647 w 1037"/>
              <a:gd name="T43" fmla="*/ 2147483647 h 690"/>
              <a:gd name="T44" fmla="*/ 2147483647 w 1037"/>
              <a:gd name="T45" fmla="*/ 2147483647 h 690"/>
              <a:gd name="T46" fmla="*/ 2147483647 w 1037"/>
              <a:gd name="T47" fmla="*/ 2147483647 h 690"/>
              <a:gd name="T48" fmla="*/ 2147483647 w 1037"/>
              <a:gd name="T49" fmla="*/ 2147483647 h 690"/>
              <a:gd name="T50" fmla="*/ 2147483647 w 1037"/>
              <a:gd name="T51" fmla="*/ 2147483647 h 690"/>
              <a:gd name="T52" fmla="*/ 2147483647 w 1037"/>
              <a:gd name="T53" fmla="*/ 2147483647 h 690"/>
              <a:gd name="T54" fmla="*/ 2147483647 w 1037"/>
              <a:gd name="T55" fmla="*/ 2147483647 h 690"/>
              <a:gd name="T56" fmla="*/ 2147483647 w 1037"/>
              <a:gd name="T57" fmla="*/ 2147483647 h 690"/>
              <a:gd name="T58" fmla="*/ 2147483647 w 1037"/>
              <a:gd name="T59" fmla="*/ 2147483647 h 690"/>
              <a:gd name="T60" fmla="*/ 2147483647 w 1037"/>
              <a:gd name="T61" fmla="*/ 2147483647 h 690"/>
              <a:gd name="T62" fmla="*/ 2147483647 w 1037"/>
              <a:gd name="T63" fmla="*/ 2147483647 h 690"/>
              <a:gd name="T64" fmla="*/ 2147483647 w 1037"/>
              <a:gd name="T65" fmla="*/ 2147483647 h 690"/>
              <a:gd name="T66" fmla="*/ 2147483647 w 1037"/>
              <a:gd name="T67" fmla="*/ 2147483647 h 690"/>
              <a:gd name="T68" fmla="*/ 2147483647 w 1037"/>
              <a:gd name="T69" fmla="*/ 2147483647 h 690"/>
              <a:gd name="T70" fmla="*/ 2147483647 w 1037"/>
              <a:gd name="T71" fmla="*/ 2147483647 h 690"/>
              <a:gd name="T72" fmla="*/ 2147483647 w 1037"/>
              <a:gd name="T73" fmla="*/ 2147483647 h 690"/>
              <a:gd name="T74" fmla="*/ 2147483647 w 1037"/>
              <a:gd name="T75" fmla="*/ 2147483647 h 690"/>
              <a:gd name="T76" fmla="*/ 2147483647 w 1037"/>
              <a:gd name="T77" fmla="*/ 2147483647 h 690"/>
              <a:gd name="T78" fmla="*/ 2147483647 w 1037"/>
              <a:gd name="T79" fmla="*/ 2147483647 h 690"/>
              <a:gd name="T80" fmla="*/ 2147483647 w 1037"/>
              <a:gd name="T81" fmla="*/ 2147483647 h 690"/>
              <a:gd name="T82" fmla="*/ 2147483647 w 1037"/>
              <a:gd name="T83" fmla="*/ 2147483647 h 690"/>
              <a:gd name="T84" fmla="*/ 2147483647 w 1037"/>
              <a:gd name="T85" fmla="*/ 2147483647 h 690"/>
              <a:gd name="T86" fmla="*/ 2147483647 w 1037"/>
              <a:gd name="T87" fmla="*/ 2147483647 h 690"/>
              <a:gd name="T88" fmla="*/ 2147483647 w 1037"/>
              <a:gd name="T89" fmla="*/ 2147483647 h 690"/>
              <a:gd name="T90" fmla="*/ 2147483647 w 1037"/>
              <a:gd name="T91" fmla="*/ 2147483647 h 690"/>
              <a:gd name="T92" fmla="*/ 2147483647 w 1037"/>
              <a:gd name="T93" fmla="*/ 2147483647 h 690"/>
              <a:gd name="T94" fmla="*/ 2147483647 w 1037"/>
              <a:gd name="T95" fmla="*/ 2147483647 h 690"/>
              <a:gd name="T96" fmla="*/ 2147483647 w 1037"/>
              <a:gd name="T97" fmla="*/ 2147483647 h 690"/>
              <a:gd name="T98" fmla="*/ 2147483647 w 1037"/>
              <a:gd name="T99" fmla="*/ 2147483647 h 690"/>
              <a:gd name="T100" fmla="*/ 2147483647 w 1037"/>
              <a:gd name="T101" fmla="*/ 2147483647 h 690"/>
              <a:gd name="T102" fmla="*/ 2147483647 w 1037"/>
              <a:gd name="T103" fmla="*/ 2147483647 h 690"/>
              <a:gd name="T104" fmla="*/ 2147483647 w 1037"/>
              <a:gd name="T105" fmla="*/ 2147483647 h 690"/>
              <a:gd name="T106" fmla="*/ 2147483647 w 1037"/>
              <a:gd name="T107" fmla="*/ 2147483647 h 690"/>
              <a:gd name="T108" fmla="*/ 2147483647 w 1037"/>
              <a:gd name="T109" fmla="*/ 2147483647 h 690"/>
              <a:gd name="T110" fmla="*/ 2147483647 w 1037"/>
              <a:gd name="T111" fmla="*/ 2147483647 h 690"/>
              <a:gd name="T112" fmla="*/ 2147483647 w 1037"/>
              <a:gd name="T113" fmla="*/ 2147483647 h 690"/>
              <a:gd name="T114" fmla="*/ 2147483647 w 1037"/>
              <a:gd name="T115" fmla="*/ 2147483647 h 690"/>
              <a:gd name="T116" fmla="*/ 2147483647 w 1037"/>
              <a:gd name="T117" fmla="*/ 2147483647 h 690"/>
              <a:gd name="T118" fmla="*/ 2147483647 w 1037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37"/>
              <a:gd name="T181" fmla="*/ 0 h 690"/>
              <a:gd name="T182" fmla="*/ 1037 w 1037"/>
              <a:gd name="T183" fmla="*/ 690 h 69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21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595813" y="1971675"/>
            <a:ext cx="46037" cy="84138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0"/>
              <a:gd name="T136" fmla="*/ 0 h 173"/>
              <a:gd name="T137" fmla="*/ 120 w 120"/>
              <a:gd name="T138" fmla="*/ 173 h 17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22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324350" y="1822450"/>
            <a:ext cx="77788" cy="55563"/>
          </a:xfrm>
          <a:custGeom>
            <a:avLst/>
            <a:gdLst>
              <a:gd name="T0" fmla="*/ 2147483647 w 200"/>
              <a:gd name="T1" fmla="*/ 2147483647 h 98"/>
              <a:gd name="T2" fmla="*/ 2147483647 w 200"/>
              <a:gd name="T3" fmla="*/ 2147483647 h 98"/>
              <a:gd name="T4" fmla="*/ 2147483647 w 200"/>
              <a:gd name="T5" fmla="*/ 2147483647 h 98"/>
              <a:gd name="T6" fmla="*/ 2147483647 w 200"/>
              <a:gd name="T7" fmla="*/ 2147483647 h 98"/>
              <a:gd name="T8" fmla="*/ 2147483647 w 200"/>
              <a:gd name="T9" fmla="*/ 2147483647 h 98"/>
              <a:gd name="T10" fmla="*/ 2147483647 w 200"/>
              <a:gd name="T11" fmla="*/ 2147483647 h 98"/>
              <a:gd name="T12" fmla="*/ 2147483647 w 200"/>
              <a:gd name="T13" fmla="*/ 2147483647 h 98"/>
              <a:gd name="T14" fmla="*/ 2147483647 w 200"/>
              <a:gd name="T15" fmla="*/ 2147483647 h 98"/>
              <a:gd name="T16" fmla="*/ 2147483647 w 200"/>
              <a:gd name="T17" fmla="*/ 2147483647 h 98"/>
              <a:gd name="T18" fmla="*/ 2147483647 w 200"/>
              <a:gd name="T19" fmla="*/ 2147483647 h 98"/>
              <a:gd name="T20" fmla="*/ 2147483647 w 200"/>
              <a:gd name="T21" fmla="*/ 2147483647 h 98"/>
              <a:gd name="T22" fmla="*/ 2147483647 w 200"/>
              <a:gd name="T23" fmla="*/ 2147483647 h 98"/>
              <a:gd name="T24" fmla="*/ 2147483647 w 200"/>
              <a:gd name="T25" fmla="*/ 2147483647 h 98"/>
              <a:gd name="T26" fmla="*/ 2147483647 w 200"/>
              <a:gd name="T27" fmla="*/ 2147483647 h 98"/>
              <a:gd name="T28" fmla="*/ 2147483647 w 200"/>
              <a:gd name="T29" fmla="*/ 2147483647 h 98"/>
              <a:gd name="T30" fmla="*/ 2147483647 w 200"/>
              <a:gd name="T31" fmla="*/ 2147483647 h 98"/>
              <a:gd name="T32" fmla="*/ 2147483647 w 200"/>
              <a:gd name="T33" fmla="*/ 2147483647 h 98"/>
              <a:gd name="T34" fmla="*/ 2147483647 w 200"/>
              <a:gd name="T35" fmla="*/ 2147483647 h 98"/>
              <a:gd name="T36" fmla="*/ 2147483647 w 200"/>
              <a:gd name="T37" fmla="*/ 2147483647 h 98"/>
              <a:gd name="T38" fmla="*/ 2147483647 w 200"/>
              <a:gd name="T39" fmla="*/ 2147483647 h 98"/>
              <a:gd name="T40" fmla="*/ 2147483647 w 200"/>
              <a:gd name="T41" fmla="*/ 2147483647 h 98"/>
              <a:gd name="T42" fmla="*/ 2147483647 w 200"/>
              <a:gd name="T43" fmla="*/ 2147483647 h 98"/>
              <a:gd name="T44" fmla="*/ 2147483647 w 200"/>
              <a:gd name="T45" fmla="*/ 2147483647 h 98"/>
              <a:gd name="T46" fmla="*/ 2147483647 w 200"/>
              <a:gd name="T47" fmla="*/ 2147483647 h 98"/>
              <a:gd name="T48" fmla="*/ 2147483647 w 200"/>
              <a:gd name="T49" fmla="*/ 2147483647 h 98"/>
              <a:gd name="T50" fmla="*/ 2147483647 w 200"/>
              <a:gd name="T51" fmla="*/ 2147483647 h 98"/>
              <a:gd name="T52" fmla="*/ 2147483647 w 200"/>
              <a:gd name="T53" fmla="*/ 2147483647 h 98"/>
              <a:gd name="T54" fmla="*/ 2147483647 w 200"/>
              <a:gd name="T55" fmla="*/ 2147483647 h 98"/>
              <a:gd name="T56" fmla="*/ 2147483647 w 200"/>
              <a:gd name="T57" fmla="*/ 2147483647 h 98"/>
              <a:gd name="T58" fmla="*/ 2147483647 w 200"/>
              <a:gd name="T59" fmla="*/ 2147483647 h 98"/>
              <a:gd name="T60" fmla="*/ 2147483647 w 200"/>
              <a:gd name="T61" fmla="*/ 2147483647 h 98"/>
              <a:gd name="T62" fmla="*/ 0 w 200"/>
              <a:gd name="T63" fmla="*/ 2147483647 h 98"/>
              <a:gd name="T64" fmla="*/ 2147483647 w 200"/>
              <a:gd name="T65" fmla="*/ 2147483647 h 98"/>
              <a:gd name="T66" fmla="*/ 2147483647 w 200"/>
              <a:gd name="T67" fmla="*/ 2147483647 h 98"/>
              <a:gd name="T68" fmla="*/ 2147483647 w 200"/>
              <a:gd name="T69" fmla="*/ 2147483647 h 98"/>
              <a:gd name="T70" fmla="*/ 2147483647 w 200"/>
              <a:gd name="T71" fmla="*/ 2147483647 h 98"/>
              <a:gd name="T72" fmla="*/ 2147483647 w 200"/>
              <a:gd name="T73" fmla="*/ 2147483647 h 98"/>
              <a:gd name="T74" fmla="*/ 2147483647 w 200"/>
              <a:gd name="T75" fmla="*/ 2147483647 h 98"/>
              <a:gd name="T76" fmla="*/ 2147483647 w 200"/>
              <a:gd name="T77" fmla="*/ 2147483647 h 98"/>
              <a:gd name="T78" fmla="*/ 2147483647 w 200"/>
              <a:gd name="T79" fmla="*/ 2147483647 h 98"/>
              <a:gd name="T80" fmla="*/ 2147483647 w 200"/>
              <a:gd name="T81" fmla="*/ 2147483647 h 98"/>
              <a:gd name="T82" fmla="*/ 2147483647 w 200"/>
              <a:gd name="T83" fmla="*/ 2147483647 h 98"/>
              <a:gd name="T84" fmla="*/ 2147483647 w 200"/>
              <a:gd name="T85" fmla="*/ 2147483647 h 98"/>
              <a:gd name="T86" fmla="*/ 2147483647 w 200"/>
              <a:gd name="T87" fmla="*/ 0 h 98"/>
              <a:gd name="T88" fmla="*/ 2147483647 w 200"/>
              <a:gd name="T89" fmla="*/ 2147483647 h 98"/>
              <a:gd name="T90" fmla="*/ 2147483647 w 200"/>
              <a:gd name="T91" fmla="*/ 2147483647 h 98"/>
              <a:gd name="T92" fmla="*/ 2147483647 w 200"/>
              <a:gd name="T93" fmla="*/ 2147483647 h 98"/>
              <a:gd name="T94" fmla="*/ 2147483647 w 200"/>
              <a:gd name="T95" fmla="*/ 2147483647 h 98"/>
              <a:gd name="T96" fmla="*/ 2147483647 w 200"/>
              <a:gd name="T97" fmla="*/ 2147483647 h 98"/>
              <a:gd name="T98" fmla="*/ 2147483647 w 200"/>
              <a:gd name="T99" fmla="*/ 2147483647 h 98"/>
              <a:gd name="T100" fmla="*/ 2147483647 w 200"/>
              <a:gd name="T101" fmla="*/ 2147483647 h 98"/>
              <a:gd name="T102" fmla="*/ 2147483647 w 200"/>
              <a:gd name="T103" fmla="*/ 2147483647 h 98"/>
              <a:gd name="T104" fmla="*/ 2147483647 w 200"/>
              <a:gd name="T105" fmla="*/ 2147483647 h 98"/>
              <a:gd name="T106" fmla="*/ 2147483647 w 200"/>
              <a:gd name="T107" fmla="*/ 2147483647 h 98"/>
              <a:gd name="T108" fmla="*/ 2147483647 w 200"/>
              <a:gd name="T109" fmla="*/ 2147483647 h 98"/>
              <a:gd name="T110" fmla="*/ 2147483647 w 200"/>
              <a:gd name="T111" fmla="*/ 2147483647 h 98"/>
              <a:gd name="T112" fmla="*/ 2147483647 w 200"/>
              <a:gd name="T113" fmla="*/ 2147483647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0"/>
              <a:gd name="T172" fmla="*/ 0 h 98"/>
              <a:gd name="T173" fmla="*/ 200 w 200"/>
              <a:gd name="T174" fmla="*/ 98 h 9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561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267200" y="1654175"/>
            <a:ext cx="77788" cy="68263"/>
          </a:xfrm>
          <a:custGeom>
            <a:avLst/>
            <a:gdLst>
              <a:gd name="T0" fmla="*/ 0 w 186"/>
              <a:gd name="T1" fmla="*/ 2147483647 h 142"/>
              <a:gd name="T2" fmla="*/ 2147483647 w 186"/>
              <a:gd name="T3" fmla="*/ 2147483647 h 142"/>
              <a:gd name="T4" fmla="*/ 2147483647 w 186"/>
              <a:gd name="T5" fmla="*/ 2147483647 h 142"/>
              <a:gd name="T6" fmla="*/ 2147483647 w 186"/>
              <a:gd name="T7" fmla="*/ 2147483647 h 142"/>
              <a:gd name="T8" fmla="*/ 2147483647 w 186"/>
              <a:gd name="T9" fmla="*/ 2147483647 h 142"/>
              <a:gd name="T10" fmla="*/ 2147483647 w 186"/>
              <a:gd name="T11" fmla="*/ 2147483647 h 142"/>
              <a:gd name="T12" fmla="*/ 2147483647 w 186"/>
              <a:gd name="T13" fmla="*/ 2147483647 h 142"/>
              <a:gd name="T14" fmla="*/ 2147483647 w 186"/>
              <a:gd name="T15" fmla="*/ 2147483647 h 142"/>
              <a:gd name="T16" fmla="*/ 2147483647 w 186"/>
              <a:gd name="T17" fmla="*/ 2147483647 h 142"/>
              <a:gd name="T18" fmla="*/ 2147483647 w 186"/>
              <a:gd name="T19" fmla="*/ 2147483647 h 142"/>
              <a:gd name="T20" fmla="*/ 2147483647 w 186"/>
              <a:gd name="T21" fmla="*/ 2147483647 h 142"/>
              <a:gd name="T22" fmla="*/ 2147483647 w 186"/>
              <a:gd name="T23" fmla="*/ 2147483647 h 142"/>
              <a:gd name="T24" fmla="*/ 2147483647 w 186"/>
              <a:gd name="T25" fmla="*/ 2147483647 h 142"/>
              <a:gd name="T26" fmla="*/ 2147483647 w 186"/>
              <a:gd name="T27" fmla="*/ 2147483647 h 142"/>
              <a:gd name="T28" fmla="*/ 2147483647 w 186"/>
              <a:gd name="T29" fmla="*/ 2147483647 h 142"/>
              <a:gd name="T30" fmla="*/ 2147483647 w 186"/>
              <a:gd name="T31" fmla="*/ 2147483647 h 142"/>
              <a:gd name="T32" fmla="*/ 2147483647 w 186"/>
              <a:gd name="T33" fmla="*/ 2147483647 h 142"/>
              <a:gd name="T34" fmla="*/ 2147483647 w 186"/>
              <a:gd name="T35" fmla="*/ 2147483647 h 142"/>
              <a:gd name="T36" fmla="*/ 2147483647 w 186"/>
              <a:gd name="T37" fmla="*/ 2147483647 h 142"/>
              <a:gd name="T38" fmla="*/ 2147483647 w 186"/>
              <a:gd name="T39" fmla="*/ 2147483647 h 142"/>
              <a:gd name="T40" fmla="*/ 2147483647 w 186"/>
              <a:gd name="T41" fmla="*/ 2147483647 h 142"/>
              <a:gd name="T42" fmla="*/ 2147483647 w 186"/>
              <a:gd name="T43" fmla="*/ 2147483647 h 142"/>
              <a:gd name="T44" fmla="*/ 2147483647 w 186"/>
              <a:gd name="T45" fmla="*/ 2147483647 h 142"/>
              <a:gd name="T46" fmla="*/ 2147483647 w 186"/>
              <a:gd name="T47" fmla="*/ 2147483647 h 142"/>
              <a:gd name="T48" fmla="*/ 2147483647 w 186"/>
              <a:gd name="T49" fmla="*/ 2147483647 h 142"/>
              <a:gd name="T50" fmla="*/ 2147483647 w 186"/>
              <a:gd name="T51" fmla="*/ 2147483647 h 142"/>
              <a:gd name="T52" fmla="*/ 2147483647 w 186"/>
              <a:gd name="T53" fmla="*/ 2147483647 h 142"/>
              <a:gd name="T54" fmla="*/ 2147483647 w 186"/>
              <a:gd name="T55" fmla="*/ 2147483647 h 142"/>
              <a:gd name="T56" fmla="*/ 2147483647 w 186"/>
              <a:gd name="T57" fmla="*/ 2147483647 h 142"/>
              <a:gd name="T58" fmla="*/ 2147483647 w 186"/>
              <a:gd name="T59" fmla="*/ 2147483647 h 142"/>
              <a:gd name="T60" fmla="*/ 2147483647 w 186"/>
              <a:gd name="T61" fmla="*/ 2147483647 h 142"/>
              <a:gd name="T62" fmla="*/ 2147483647 w 186"/>
              <a:gd name="T63" fmla="*/ 2147483647 h 142"/>
              <a:gd name="T64" fmla="*/ 2147483647 w 186"/>
              <a:gd name="T65" fmla="*/ 2147483647 h 142"/>
              <a:gd name="T66" fmla="*/ 2147483647 w 186"/>
              <a:gd name="T67" fmla="*/ 2147483647 h 142"/>
              <a:gd name="T68" fmla="*/ 2147483647 w 186"/>
              <a:gd name="T69" fmla="*/ 2147483647 h 142"/>
              <a:gd name="T70" fmla="*/ 2147483647 w 186"/>
              <a:gd name="T71" fmla="*/ 2147483647 h 142"/>
              <a:gd name="T72" fmla="*/ 2147483647 w 186"/>
              <a:gd name="T73" fmla="*/ 2147483647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6"/>
              <a:gd name="T112" fmla="*/ 0 h 142"/>
              <a:gd name="T113" fmla="*/ 186 w 186"/>
              <a:gd name="T114" fmla="*/ 142 h 14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562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248150" y="1712913"/>
            <a:ext cx="79375" cy="53975"/>
          </a:xfrm>
          <a:custGeom>
            <a:avLst/>
            <a:gdLst>
              <a:gd name="T0" fmla="*/ 2147483647 w 192"/>
              <a:gd name="T1" fmla="*/ 2147483647 h 105"/>
              <a:gd name="T2" fmla="*/ 2147483647 w 192"/>
              <a:gd name="T3" fmla="*/ 2147483647 h 105"/>
              <a:gd name="T4" fmla="*/ 2147483647 w 192"/>
              <a:gd name="T5" fmla="*/ 2147483647 h 105"/>
              <a:gd name="T6" fmla="*/ 2147483647 w 192"/>
              <a:gd name="T7" fmla="*/ 2147483647 h 105"/>
              <a:gd name="T8" fmla="*/ 2147483647 w 192"/>
              <a:gd name="T9" fmla="*/ 2147483647 h 105"/>
              <a:gd name="T10" fmla="*/ 2147483647 w 192"/>
              <a:gd name="T11" fmla="*/ 2147483647 h 105"/>
              <a:gd name="T12" fmla="*/ 2147483647 w 192"/>
              <a:gd name="T13" fmla="*/ 2147483647 h 105"/>
              <a:gd name="T14" fmla="*/ 2147483647 w 192"/>
              <a:gd name="T15" fmla="*/ 2147483647 h 105"/>
              <a:gd name="T16" fmla="*/ 2147483647 w 192"/>
              <a:gd name="T17" fmla="*/ 2147483647 h 105"/>
              <a:gd name="T18" fmla="*/ 2147483647 w 192"/>
              <a:gd name="T19" fmla="*/ 2147483647 h 105"/>
              <a:gd name="T20" fmla="*/ 2147483647 w 192"/>
              <a:gd name="T21" fmla="*/ 2147483647 h 105"/>
              <a:gd name="T22" fmla="*/ 2147483647 w 192"/>
              <a:gd name="T23" fmla="*/ 2147483647 h 105"/>
              <a:gd name="T24" fmla="*/ 2147483647 w 192"/>
              <a:gd name="T25" fmla="*/ 2147483647 h 105"/>
              <a:gd name="T26" fmla="*/ 2147483647 w 192"/>
              <a:gd name="T27" fmla="*/ 2147483647 h 105"/>
              <a:gd name="T28" fmla="*/ 2147483647 w 192"/>
              <a:gd name="T29" fmla="*/ 2147483647 h 105"/>
              <a:gd name="T30" fmla="*/ 2147483647 w 192"/>
              <a:gd name="T31" fmla="*/ 2147483647 h 105"/>
              <a:gd name="T32" fmla="*/ 2147483647 w 192"/>
              <a:gd name="T33" fmla="*/ 2147483647 h 105"/>
              <a:gd name="T34" fmla="*/ 2147483647 w 192"/>
              <a:gd name="T35" fmla="*/ 2147483647 h 105"/>
              <a:gd name="T36" fmla="*/ 0 w 192"/>
              <a:gd name="T37" fmla="*/ 2147483647 h 105"/>
              <a:gd name="T38" fmla="*/ 0 w 192"/>
              <a:gd name="T39" fmla="*/ 2147483647 h 105"/>
              <a:gd name="T40" fmla="*/ 2147483647 w 192"/>
              <a:gd name="T41" fmla="*/ 2147483647 h 105"/>
              <a:gd name="T42" fmla="*/ 2147483647 w 192"/>
              <a:gd name="T43" fmla="*/ 2147483647 h 105"/>
              <a:gd name="T44" fmla="*/ 2147483647 w 192"/>
              <a:gd name="T45" fmla="*/ 2147483647 h 105"/>
              <a:gd name="T46" fmla="*/ 2147483647 w 192"/>
              <a:gd name="T47" fmla="*/ 0 h 105"/>
              <a:gd name="T48" fmla="*/ 2147483647 w 192"/>
              <a:gd name="T49" fmla="*/ 2147483647 h 105"/>
              <a:gd name="T50" fmla="*/ 2147483647 w 192"/>
              <a:gd name="T51" fmla="*/ 2147483647 h 105"/>
              <a:gd name="T52" fmla="*/ 2147483647 w 192"/>
              <a:gd name="T53" fmla="*/ 2147483647 h 105"/>
              <a:gd name="T54" fmla="*/ 2147483647 w 192"/>
              <a:gd name="T55" fmla="*/ 2147483647 h 105"/>
              <a:gd name="T56" fmla="*/ 2147483647 w 192"/>
              <a:gd name="T57" fmla="*/ 2147483647 h 105"/>
              <a:gd name="T58" fmla="*/ 2147483647 w 192"/>
              <a:gd name="T59" fmla="*/ 2147483647 h 105"/>
              <a:gd name="T60" fmla="*/ 2147483647 w 192"/>
              <a:gd name="T61" fmla="*/ 2147483647 h 105"/>
              <a:gd name="T62" fmla="*/ 2147483647 w 192"/>
              <a:gd name="T63" fmla="*/ 2147483647 h 105"/>
              <a:gd name="T64" fmla="*/ 2147483647 w 192"/>
              <a:gd name="T65" fmla="*/ 2147483647 h 105"/>
              <a:gd name="T66" fmla="*/ 2147483647 w 192"/>
              <a:gd name="T67" fmla="*/ 2147483647 h 105"/>
              <a:gd name="T68" fmla="*/ 2147483647 w 192"/>
              <a:gd name="T69" fmla="*/ 2147483647 h 105"/>
              <a:gd name="T70" fmla="*/ 2147483647 w 192"/>
              <a:gd name="T71" fmla="*/ 2147483647 h 105"/>
              <a:gd name="T72" fmla="*/ 2147483647 w 192"/>
              <a:gd name="T73" fmla="*/ 2147483647 h 105"/>
              <a:gd name="T74" fmla="*/ 2147483647 w 192"/>
              <a:gd name="T75" fmla="*/ 2147483647 h 105"/>
              <a:gd name="T76" fmla="*/ 2147483647 w 192"/>
              <a:gd name="T77" fmla="*/ 2147483647 h 105"/>
              <a:gd name="T78" fmla="*/ 2147483647 w 192"/>
              <a:gd name="T79" fmla="*/ 2147483647 h 105"/>
              <a:gd name="T80" fmla="*/ 2147483647 w 192"/>
              <a:gd name="T81" fmla="*/ 2147483647 h 105"/>
              <a:gd name="T82" fmla="*/ 2147483647 w 192"/>
              <a:gd name="T83" fmla="*/ 2147483647 h 105"/>
              <a:gd name="T84" fmla="*/ 2147483647 w 192"/>
              <a:gd name="T85" fmla="*/ 2147483647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92"/>
              <a:gd name="T130" fmla="*/ 0 h 105"/>
              <a:gd name="T131" fmla="*/ 192 w 192"/>
              <a:gd name="T132" fmla="*/ 105 h 1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62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957763" y="2228850"/>
            <a:ext cx="30162" cy="123825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63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910138" y="2278063"/>
            <a:ext cx="65087" cy="122237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563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979863" y="1582738"/>
            <a:ext cx="90487" cy="134937"/>
          </a:xfrm>
          <a:custGeom>
            <a:avLst/>
            <a:gdLst>
              <a:gd name="T0" fmla="*/ 2147483647 w 225"/>
              <a:gd name="T1" fmla="*/ 2147483647 h 273"/>
              <a:gd name="T2" fmla="*/ 2147483647 w 225"/>
              <a:gd name="T3" fmla="*/ 2147483647 h 273"/>
              <a:gd name="T4" fmla="*/ 2147483647 w 225"/>
              <a:gd name="T5" fmla="*/ 2147483647 h 273"/>
              <a:gd name="T6" fmla="*/ 2147483647 w 225"/>
              <a:gd name="T7" fmla="*/ 2147483647 h 273"/>
              <a:gd name="T8" fmla="*/ 2147483647 w 225"/>
              <a:gd name="T9" fmla="*/ 2147483647 h 273"/>
              <a:gd name="T10" fmla="*/ 2147483647 w 225"/>
              <a:gd name="T11" fmla="*/ 2147483647 h 273"/>
              <a:gd name="T12" fmla="*/ 2147483647 w 225"/>
              <a:gd name="T13" fmla="*/ 2147483647 h 273"/>
              <a:gd name="T14" fmla="*/ 2147483647 w 225"/>
              <a:gd name="T15" fmla="*/ 2147483647 h 273"/>
              <a:gd name="T16" fmla="*/ 2147483647 w 225"/>
              <a:gd name="T17" fmla="*/ 2147483647 h 273"/>
              <a:gd name="T18" fmla="*/ 2147483647 w 225"/>
              <a:gd name="T19" fmla="*/ 2147483647 h 273"/>
              <a:gd name="T20" fmla="*/ 2147483647 w 225"/>
              <a:gd name="T21" fmla="*/ 2147483647 h 273"/>
              <a:gd name="T22" fmla="*/ 2147483647 w 225"/>
              <a:gd name="T23" fmla="*/ 2147483647 h 273"/>
              <a:gd name="T24" fmla="*/ 2147483647 w 225"/>
              <a:gd name="T25" fmla="*/ 2147483647 h 273"/>
              <a:gd name="T26" fmla="*/ 2147483647 w 225"/>
              <a:gd name="T27" fmla="*/ 2147483647 h 273"/>
              <a:gd name="T28" fmla="*/ 2147483647 w 225"/>
              <a:gd name="T29" fmla="*/ 2147483647 h 273"/>
              <a:gd name="T30" fmla="*/ 2147483647 w 225"/>
              <a:gd name="T31" fmla="*/ 2147483647 h 273"/>
              <a:gd name="T32" fmla="*/ 2147483647 w 225"/>
              <a:gd name="T33" fmla="*/ 2147483647 h 273"/>
              <a:gd name="T34" fmla="*/ 2147483647 w 225"/>
              <a:gd name="T35" fmla="*/ 2147483647 h 273"/>
              <a:gd name="T36" fmla="*/ 2147483647 w 225"/>
              <a:gd name="T37" fmla="*/ 2147483647 h 273"/>
              <a:gd name="T38" fmla="*/ 2147483647 w 225"/>
              <a:gd name="T39" fmla="*/ 2147483647 h 273"/>
              <a:gd name="T40" fmla="*/ 0 w 225"/>
              <a:gd name="T41" fmla="*/ 2147483647 h 273"/>
              <a:gd name="T42" fmla="*/ 2147483647 w 225"/>
              <a:gd name="T43" fmla="*/ 2147483647 h 273"/>
              <a:gd name="T44" fmla="*/ 2147483647 w 225"/>
              <a:gd name="T45" fmla="*/ 2147483647 h 273"/>
              <a:gd name="T46" fmla="*/ 2147483647 w 225"/>
              <a:gd name="T47" fmla="*/ 2147483647 h 273"/>
              <a:gd name="T48" fmla="*/ 2147483647 w 225"/>
              <a:gd name="T49" fmla="*/ 2147483647 h 273"/>
              <a:gd name="T50" fmla="*/ 2147483647 w 225"/>
              <a:gd name="T51" fmla="*/ 2147483647 h 273"/>
              <a:gd name="T52" fmla="*/ 2147483647 w 225"/>
              <a:gd name="T53" fmla="*/ 2147483647 h 273"/>
              <a:gd name="T54" fmla="*/ 2147483647 w 225"/>
              <a:gd name="T55" fmla="*/ 2147483647 h 273"/>
              <a:gd name="T56" fmla="*/ 2147483647 w 225"/>
              <a:gd name="T57" fmla="*/ 2147483647 h 273"/>
              <a:gd name="T58" fmla="*/ 2147483647 w 225"/>
              <a:gd name="T59" fmla="*/ 2147483647 h 273"/>
              <a:gd name="T60" fmla="*/ 2147483647 w 225"/>
              <a:gd name="T61" fmla="*/ 2147483647 h 273"/>
              <a:gd name="T62" fmla="*/ 2147483647 w 225"/>
              <a:gd name="T63" fmla="*/ 2147483647 h 273"/>
              <a:gd name="T64" fmla="*/ 2147483647 w 225"/>
              <a:gd name="T65" fmla="*/ 2147483647 h 273"/>
              <a:gd name="T66" fmla="*/ 2147483647 w 225"/>
              <a:gd name="T67" fmla="*/ 2147483647 h 273"/>
              <a:gd name="T68" fmla="*/ 2147483647 w 225"/>
              <a:gd name="T69" fmla="*/ 2147483647 h 273"/>
              <a:gd name="T70" fmla="*/ 2147483647 w 225"/>
              <a:gd name="T71" fmla="*/ 2147483647 h 273"/>
              <a:gd name="T72" fmla="*/ 2147483647 w 225"/>
              <a:gd name="T73" fmla="*/ 2147483647 h 273"/>
              <a:gd name="T74" fmla="*/ 2147483647 w 225"/>
              <a:gd name="T75" fmla="*/ 2147483647 h 273"/>
              <a:gd name="T76" fmla="*/ 2147483647 w 225"/>
              <a:gd name="T77" fmla="*/ 2147483647 h 273"/>
              <a:gd name="T78" fmla="*/ 2147483647 w 225"/>
              <a:gd name="T79" fmla="*/ 2147483647 h 273"/>
              <a:gd name="T80" fmla="*/ 2147483647 w 225"/>
              <a:gd name="T81" fmla="*/ 2147483647 h 273"/>
              <a:gd name="T82" fmla="*/ 2147483647 w 225"/>
              <a:gd name="T83" fmla="*/ 2147483647 h 273"/>
              <a:gd name="T84" fmla="*/ 2147483647 w 225"/>
              <a:gd name="T85" fmla="*/ 2147483647 h 273"/>
              <a:gd name="T86" fmla="*/ 2147483647 w 225"/>
              <a:gd name="T87" fmla="*/ 2147483647 h 273"/>
              <a:gd name="T88" fmla="*/ 2147483647 w 225"/>
              <a:gd name="T89" fmla="*/ 2147483647 h 273"/>
              <a:gd name="T90" fmla="*/ 2147483647 w 225"/>
              <a:gd name="T91" fmla="*/ 21474836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273"/>
              <a:gd name="T140" fmla="*/ 225 w 225"/>
              <a:gd name="T141" fmla="*/ 273 h 27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65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805238" y="2432050"/>
            <a:ext cx="285750" cy="363538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66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913188" y="2489200"/>
            <a:ext cx="385762" cy="434975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67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005263" y="2120900"/>
            <a:ext cx="458787" cy="5413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68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411663" y="2247900"/>
            <a:ext cx="357187" cy="406400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69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367213" y="2120900"/>
            <a:ext cx="87312" cy="220663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70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790950" y="2411413"/>
            <a:ext cx="215900" cy="201612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564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762375" y="1300163"/>
            <a:ext cx="177800" cy="87312"/>
          </a:xfrm>
          <a:custGeom>
            <a:avLst/>
            <a:gdLst>
              <a:gd name="T0" fmla="*/ 2147483647 w 446"/>
              <a:gd name="T1" fmla="*/ 2147483647 h 178"/>
              <a:gd name="T2" fmla="*/ 2147483647 w 446"/>
              <a:gd name="T3" fmla="*/ 2147483647 h 178"/>
              <a:gd name="T4" fmla="*/ 2147483647 w 446"/>
              <a:gd name="T5" fmla="*/ 2147483647 h 178"/>
              <a:gd name="T6" fmla="*/ 2147483647 w 446"/>
              <a:gd name="T7" fmla="*/ 2147483647 h 178"/>
              <a:gd name="T8" fmla="*/ 2147483647 w 446"/>
              <a:gd name="T9" fmla="*/ 2147483647 h 178"/>
              <a:gd name="T10" fmla="*/ 2147483647 w 446"/>
              <a:gd name="T11" fmla="*/ 0 h 178"/>
              <a:gd name="T12" fmla="*/ 2147483647 w 446"/>
              <a:gd name="T13" fmla="*/ 2147483647 h 178"/>
              <a:gd name="T14" fmla="*/ 2147483647 w 446"/>
              <a:gd name="T15" fmla="*/ 2147483647 h 178"/>
              <a:gd name="T16" fmla="*/ 2147483647 w 446"/>
              <a:gd name="T17" fmla="*/ 2147483647 h 178"/>
              <a:gd name="T18" fmla="*/ 2147483647 w 446"/>
              <a:gd name="T19" fmla="*/ 2147483647 h 178"/>
              <a:gd name="T20" fmla="*/ 2147483647 w 446"/>
              <a:gd name="T21" fmla="*/ 2147483647 h 178"/>
              <a:gd name="T22" fmla="*/ 2147483647 w 446"/>
              <a:gd name="T23" fmla="*/ 2147483647 h 178"/>
              <a:gd name="T24" fmla="*/ 2147483647 w 446"/>
              <a:gd name="T25" fmla="*/ 2147483647 h 178"/>
              <a:gd name="T26" fmla="*/ 2147483647 w 446"/>
              <a:gd name="T27" fmla="*/ 2147483647 h 178"/>
              <a:gd name="T28" fmla="*/ 2147483647 w 446"/>
              <a:gd name="T29" fmla="*/ 2147483647 h 178"/>
              <a:gd name="T30" fmla="*/ 2147483647 w 446"/>
              <a:gd name="T31" fmla="*/ 2147483647 h 178"/>
              <a:gd name="T32" fmla="*/ 2147483647 w 446"/>
              <a:gd name="T33" fmla="*/ 2147483647 h 178"/>
              <a:gd name="T34" fmla="*/ 2147483647 w 446"/>
              <a:gd name="T35" fmla="*/ 2147483647 h 178"/>
              <a:gd name="T36" fmla="*/ 2147483647 w 446"/>
              <a:gd name="T37" fmla="*/ 2147483647 h 178"/>
              <a:gd name="T38" fmla="*/ 2147483647 w 446"/>
              <a:gd name="T39" fmla="*/ 2147483647 h 178"/>
              <a:gd name="T40" fmla="*/ 2147483647 w 446"/>
              <a:gd name="T41" fmla="*/ 2147483647 h 178"/>
              <a:gd name="T42" fmla="*/ 2147483647 w 446"/>
              <a:gd name="T43" fmla="*/ 2147483647 h 178"/>
              <a:gd name="T44" fmla="*/ 2147483647 w 446"/>
              <a:gd name="T45" fmla="*/ 2147483647 h 178"/>
              <a:gd name="T46" fmla="*/ 2147483647 w 446"/>
              <a:gd name="T47" fmla="*/ 2147483647 h 178"/>
              <a:gd name="T48" fmla="*/ 2147483647 w 446"/>
              <a:gd name="T49" fmla="*/ 2147483647 h 178"/>
              <a:gd name="T50" fmla="*/ 2147483647 w 446"/>
              <a:gd name="T51" fmla="*/ 2147483647 h 178"/>
              <a:gd name="T52" fmla="*/ 2147483647 w 446"/>
              <a:gd name="T53" fmla="*/ 2147483647 h 178"/>
              <a:gd name="T54" fmla="*/ 2147483647 w 446"/>
              <a:gd name="T55" fmla="*/ 2147483647 h 178"/>
              <a:gd name="T56" fmla="*/ 2147483647 w 446"/>
              <a:gd name="T57" fmla="*/ 2147483647 h 178"/>
              <a:gd name="T58" fmla="*/ 2147483647 w 446"/>
              <a:gd name="T59" fmla="*/ 2147483647 h 178"/>
              <a:gd name="T60" fmla="*/ 2147483647 w 446"/>
              <a:gd name="T61" fmla="*/ 2147483647 h 178"/>
              <a:gd name="T62" fmla="*/ 2147483647 w 446"/>
              <a:gd name="T63" fmla="*/ 2147483647 h 178"/>
              <a:gd name="T64" fmla="*/ 2147483647 w 446"/>
              <a:gd name="T65" fmla="*/ 2147483647 h 178"/>
              <a:gd name="T66" fmla="*/ 2147483647 w 446"/>
              <a:gd name="T67" fmla="*/ 2147483647 h 178"/>
              <a:gd name="T68" fmla="*/ 2147483647 w 446"/>
              <a:gd name="T69" fmla="*/ 2147483647 h 178"/>
              <a:gd name="T70" fmla="*/ 2147483647 w 446"/>
              <a:gd name="T71" fmla="*/ 2147483647 h 178"/>
              <a:gd name="T72" fmla="*/ 2147483647 w 446"/>
              <a:gd name="T73" fmla="*/ 2147483647 h 178"/>
              <a:gd name="T74" fmla="*/ 2147483647 w 446"/>
              <a:gd name="T75" fmla="*/ 2147483647 h 178"/>
              <a:gd name="T76" fmla="*/ 2147483647 w 446"/>
              <a:gd name="T77" fmla="*/ 2147483647 h 178"/>
              <a:gd name="T78" fmla="*/ 2147483647 w 446"/>
              <a:gd name="T79" fmla="*/ 2147483647 h 178"/>
              <a:gd name="T80" fmla="*/ 0 w 446"/>
              <a:gd name="T81" fmla="*/ 2147483647 h 178"/>
              <a:gd name="T82" fmla="*/ 2147483647 w 446"/>
              <a:gd name="T83" fmla="*/ 2147483647 h 178"/>
              <a:gd name="T84" fmla="*/ 2147483647 w 446"/>
              <a:gd name="T85" fmla="*/ 2147483647 h 178"/>
              <a:gd name="T86" fmla="*/ 2147483647 w 446"/>
              <a:gd name="T87" fmla="*/ 2147483647 h 178"/>
              <a:gd name="T88" fmla="*/ 2147483647 w 446"/>
              <a:gd name="T89" fmla="*/ 2147483647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46"/>
              <a:gd name="T136" fmla="*/ 0 h 178"/>
              <a:gd name="T137" fmla="*/ 446 w 446"/>
              <a:gd name="T138" fmla="*/ 178 h 1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565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500563" y="1546225"/>
            <a:ext cx="12700" cy="53975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8"/>
              <a:gd name="T40" fmla="*/ 0 h 73"/>
              <a:gd name="T41" fmla="*/ 28 w 28"/>
              <a:gd name="T42" fmla="*/ 73 h 7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566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395788" y="1231900"/>
            <a:ext cx="219075" cy="368300"/>
          </a:xfrm>
          <a:custGeom>
            <a:avLst/>
            <a:gdLst>
              <a:gd name="T0" fmla="*/ 2147483647 w 531"/>
              <a:gd name="T1" fmla="*/ 2147483647 h 757"/>
              <a:gd name="T2" fmla="*/ 2147483647 w 531"/>
              <a:gd name="T3" fmla="*/ 2147483647 h 757"/>
              <a:gd name="T4" fmla="*/ 2147483647 w 531"/>
              <a:gd name="T5" fmla="*/ 2147483647 h 757"/>
              <a:gd name="T6" fmla="*/ 2147483647 w 531"/>
              <a:gd name="T7" fmla="*/ 2147483647 h 757"/>
              <a:gd name="T8" fmla="*/ 2147483647 w 531"/>
              <a:gd name="T9" fmla="*/ 2147483647 h 757"/>
              <a:gd name="T10" fmla="*/ 2147483647 w 531"/>
              <a:gd name="T11" fmla="*/ 2147483647 h 757"/>
              <a:gd name="T12" fmla="*/ 2147483647 w 531"/>
              <a:gd name="T13" fmla="*/ 2147483647 h 757"/>
              <a:gd name="T14" fmla="*/ 2147483647 w 531"/>
              <a:gd name="T15" fmla="*/ 2147483647 h 757"/>
              <a:gd name="T16" fmla="*/ 2147483647 w 531"/>
              <a:gd name="T17" fmla="*/ 2147483647 h 757"/>
              <a:gd name="T18" fmla="*/ 2147483647 w 531"/>
              <a:gd name="T19" fmla="*/ 2147483647 h 757"/>
              <a:gd name="T20" fmla="*/ 2147483647 w 531"/>
              <a:gd name="T21" fmla="*/ 2147483647 h 757"/>
              <a:gd name="T22" fmla="*/ 2147483647 w 531"/>
              <a:gd name="T23" fmla="*/ 2147483647 h 757"/>
              <a:gd name="T24" fmla="*/ 2147483647 w 531"/>
              <a:gd name="T25" fmla="*/ 2147483647 h 757"/>
              <a:gd name="T26" fmla="*/ 2147483647 w 531"/>
              <a:gd name="T27" fmla="*/ 2147483647 h 757"/>
              <a:gd name="T28" fmla="*/ 2147483647 w 531"/>
              <a:gd name="T29" fmla="*/ 2147483647 h 757"/>
              <a:gd name="T30" fmla="*/ 2147483647 w 531"/>
              <a:gd name="T31" fmla="*/ 2147483647 h 757"/>
              <a:gd name="T32" fmla="*/ 2147483647 w 531"/>
              <a:gd name="T33" fmla="*/ 2147483647 h 757"/>
              <a:gd name="T34" fmla="*/ 2147483647 w 531"/>
              <a:gd name="T35" fmla="*/ 2147483647 h 757"/>
              <a:gd name="T36" fmla="*/ 2147483647 w 531"/>
              <a:gd name="T37" fmla="*/ 2147483647 h 757"/>
              <a:gd name="T38" fmla="*/ 2147483647 w 531"/>
              <a:gd name="T39" fmla="*/ 2147483647 h 757"/>
              <a:gd name="T40" fmla="*/ 2147483647 w 531"/>
              <a:gd name="T41" fmla="*/ 2147483647 h 757"/>
              <a:gd name="T42" fmla="*/ 2147483647 w 531"/>
              <a:gd name="T43" fmla="*/ 2147483647 h 757"/>
              <a:gd name="T44" fmla="*/ 2147483647 w 531"/>
              <a:gd name="T45" fmla="*/ 2147483647 h 757"/>
              <a:gd name="T46" fmla="*/ 2147483647 w 531"/>
              <a:gd name="T47" fmla="*/ 2147483647 h 757"/>
              <a:gd name="T48" fmla="*/ 2147483647 w 531"/>
              <a:gd name="T49" fmla="*/ 2147483647 h 757"/>
              <a:gd name="T50" fmla="*/ 2147483647 w 531"/>
              <a:gd name="T51" fmla="*/ 2147483647 h 757"/>
              <a:gd name="T52" fmla="*/ 2147483647 w 531"/>
              <a:gd name="T53" fmla="*/ 2147483647 h 757"/>
              <a:gd name="T54" fmla="*/ 2147483647 w 531"/>
              <a:gd name="T55" fmla="*/ 2147483647 h 757"/>
              <a:gd name="T56" fmla="*/ 2147483647 w 531"/>
              <a:gd name="T57" fmla="*/ 2147483647 h 757"/>
              <a:gd name="T58" fmla="*/ 2147483647 w 531"/>
              <a:gd name="T59" fmla="*/ 2147483647 h 757"/>
              <a:gd name="T60" fmla="*/ 2147483647 w 531"/>
              <a:gd name="T61" fmla="*/ 2147483647 h 757"/>
              <a:gd name="T62" fmla="*/ 2147483647 w 531"/>
              <a:gd name="T63" fmla="*/ 2147483647 h 757"/>
              <a:gd name="T64" fmla="*/ 2147483647 w 531"/>
              <a:gd name="T65" fmla="*/ 2147483647 h 757"/>
              <a:gd name="T66" fmla="*/ 2147483647 w 531"/>
              <a:gd name="T67" fmla="*/ 2147483647 h 757"/>
              <a:gd name="T68" fmla="*/ 2147483647 w 531"/>
              <a:gd name="T69" fmla="*/ 2147483647 h 757"/>
              <a:gd name="T70" fmla="*/ 2147483647 w 531"/>
              <a:gd name="T71" fmla="*/ 2147483647 h 757"/>
              <a:gd name="T72" fmla="*/ 2147483647 w 531"/>
              <a:gd name="T73" fmla="*/ 2147483647 h 757"/>
              <a:gd name="T74" fmla="*/ 2147483647 w 531"/>
              <a:gd name="T75" fmla="*/ 2147483647 h 757"/>
              <a:gd name="T76" fmla="*/ 2147483647 w 531"/>
              <a:gd name="T77" fmla="*/ 2147483647 h 757"/>
              <a:gd name="T78" fmla="*/ 2147483647 w 531"/>
              <a:gd name="T79" fmla="*/ 2147483647 h 757"/>
              <a:gd name="T80" fmla="*/ 2147483647 w 531"/>
              <a:gd name="T81" fmla="*/ 2147483647 h 757"/>
              <a:gd name="T82" fmla="*/ 2147483647 w 531"/>
              <a:gd name="T83" fmla="*/ 2147483647 h 757"/>
              <a:gd name="T84" fmla="*/ 2147483647 w 531"/>
              <a:gd name="T85" fmla="*/ 2147483647 h 757"/>
              <a:gd name="T86" fmla="*/ 2147483647 w 531"/>
              <a:gd name="T87" fmla="*/ 2147483647 h 757"/>
              <a:gd name="T88" fmla="*/ 2147483647 w 531"/>
              <a:gd name="T89" fmla="*/ 2147483647 h 757"/>
              <a:gd name="T90" fmla="*/ 2147483647 w 531"/>
              <a:gd name="T91" fmla="*/ 2147483647 h 757"/>
              <a:gd name="T92" fmla="*/ 2147483647 w 531"/>
              <a:gd name="T93" fmla="*/ 2147483647 h 757"/>
              <a:gd name="T94" fmla="*/ 2147483647 w 531"/>
              <a:gd name="T95" fmla="*/ 2147483647 h 757"/>
              <a:gd name="T96" fmla="*/ 2147483647 w 531"/>
              <a:gd name="T97" fmla="*/ 2147483647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31"/>
              <a:gd name="T148" fmla="*/ 0 h 757"/>
              <a:gd name="T149" fmla="*/ 531 w 531"/>
              <a:gd name="T150" fmla="*/ 757 h 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567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524375" y="1525588"/>
            <a:ext cx="25400" cy="52387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0"/>
              <a:gd name="T70" fmla="*/ 0 h 51"/>
              <a:gd name="T71" fmla="*/ 60 w 60"/>
              <a:gd name="T72" fmla="*/ 51 h 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75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068763" y="1676400"/>
            <a:ext cx="26987" cy="53975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51"/>
              <a:gd name="T77" fmla="*/ 66 w 66"/>
              <a:gd name="T78" fmla="*/ 51 h 5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76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894263" y="2168525"/>
            <a:ext cx="46037" cy="53975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77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527550" y="2906713"/>
            <a:ext cx="304800" cy="228600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78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468813" y="3063875"/>
            <a:ext cx="466725" cy="5143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79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410075" y="3157538"/>
            <a:ext cx="52388" cy="50800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0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394200" y="3157538"/>
            <a:ext cx="141288" cy="187325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1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891088" y="3533775"/>
            <a:ext cx="242887" cy="485775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2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643438" y="3757613"/>
            <a:ext cx="222250" cy="268287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3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178425" y="3573463"/>
            <a:ext cx="182563" cy="404812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4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875213" y="3292475"/>
            <a:ext cx="34925" cy="61913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5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865688" y="3254375"/>
            <a:ext cx="52387" cy="57150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37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154613" y="2043113"/>
            <a:ext cx="468312" cy="441325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6"/>
              <a:gd name="T166" fmla="*/ 0 h 900"/>
              <a:gd name="T167" fmla="*/ 1156 w 1156"/>
              <a:gd name="T168" fmla="*/ 900 h 9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87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176838" y="2655888"/>
            <a:ext cx="230187" cy="212725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8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357813" y="2446338"/>
            <a:ext cx="112712" cy="111125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89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067300" y="2120900"/>
            <a:ext cx="206375" cy="246063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3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532438" y="2084388"/>
            <a:ext cx="309562" cy="27146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64"/>
              <a:gd name="T190" fmla="*/ 0 h 555"/>
              <a:gd name="T191" fmla="*/ 764 w 764"/>
              <a:gd name="T192" fmla="*/ 555 h 5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3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562600" y="2130425"/>
            <a:ext cx="339725" cy="395288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31"/>
              <a:gd name="T163" fmla="*/ 0 h 812"/>
              <a:gd name="T164" fmla="*/ 831 w 831"/>
              <a:gd name="T165" fmla="*/ 812 h 8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4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99200" y="2381250"/>
            <a:ext cx="204788" cy="544513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05"/>
              <a:gd name="T157" fmla="*/ 0 h 1121"/>
              <a:gd name="T158" fmla="*/ 505 w 505"/>
              <a:gd name="T159" fmla="*/ 1121 h 112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93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805238" y="2855913"/>
            <a:ext cx="74612" cy="53975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4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883025" y="2932113"/>
            <a:ext cx="69850" cy="93662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5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922713" y="2979738"/>
            <a:ext cx="98425" cy="122237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6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122738" y="2903538"/>
            <a:ext cx="98425" cy="1889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7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798888" y="2825750"/>
            <a:ext cx="80962" cy="55563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8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195763" y="2898775"/>
            <a:ext cx="39687" cy="144463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99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219575" y="2862263"/>
            <a:ext cx="69850" cy="1762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val 5000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00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897438" y="3986213"/>
            <a:ext cx="23812" cy="55562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01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800600" y="4075113"/>
            <a:ext cx="57150" cy="53975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41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67525" y="1946275"/>
            <a:ext cx="112713" cy="1587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6"/>
              <a:gd name="T154" fmla="*/ 0 h 326"/>
              <a:gd name="T155" fmla="*/ 266 w 266"/>
              <a:gd name="T156" fmla="*/ 326 h 32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43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002338" y="2332038"/>
            <a:ext cx="192087" cy="114300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1"/>
              <a:gd name="T115" fmla="*/ 0 h 237"/>
              <a:gd name="T116" fmla="*/ 471 w 471"/>
              <a:gd name="T117" fmla="*/ 237 h 2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47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202363" y="2382838"/>
            <a:ext cx="68262" cy="61912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7"/>
              <a:gd name="T142" fmla="*/ 0 h 123"/>
              <a:gd name="T143" fmla="*/ 167 w 167"/>
              <a:gd name="T144" fmla="*/ 123 h 12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49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94425" y="2449513"/>
            <a:ext cx="123825" cy="155575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6"/>
              <a:gd name="T175" fmla="*/ 0 h 321"/>
              <a:gd name="T176" fmla="*/ 306 w 306"/>
              <a:gd name="T177" fmla="*/ 321 h 32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50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89700" y="2557463"/>
            <a:ext cx="188913" cy="252412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518"/>
              <a:gd name="T134" fmla="*/ 471 w 471"/>
              <a:gd name="T135" fmla="*/ 518 h 51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52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67488" y="2792413"/>
            <a:ext cx="123825" cy="120650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93"/>
              <a:gd name="T121" fmla="*/ 0 h 246"/>
              <a:gd name="T122" fmla="*/ 293 w 293"/>
              <a:gd name="T123" fmla="*/ 246 h 2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71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40550" y="2079625"/>
            <a:ext cx="80963" cy="122238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"/>
              <a:gd name="T124" fmla="*/ 0 h 246"/>
              <a:gd name="T125" fmla="*/ 200 w 200"/>
              <a:gd name="T126" fmla="*/ 246 h 24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72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470775" y="3289300"/>
            <a:ext cx="215900" cy="236538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8"/>
              <a:gd name="T133" fmla="*/ 0 h 487"/>
              <a:gd name="T134" fmla="*/ 538 w 538"/>
              <a:gd name="T135" fmla="*/ 487 h 48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73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650163" y="3273425"/>
            <a:ext cx="98425" cy="120650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3"/>
              <a:gd name="T169" fmla="*/ 0 h 246"/>
              <a:gd name="T170" fmla="*/ 253 w 253"/>
              <a:gd name="T171" fmla="*/ 246 h 2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274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043613" y="2932113"/>
            <a:ext cx="58737" cy="111125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41"/>
              <a:gd name="T124" fmla="*/ 0 h 228"/>
              <a:gd name="T125" fmla="*/ 141 w 141"/>
              <a:gd name="T126" fmla="*/ 228 h 2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1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18985" y="2663088"/>
            <a:ext cx="217467" cy="409785"/>
            <a:chOff x="5062" y="2295"/>
            <a:chExt cx="177" cy="279"/>
          </a:xfrm>
          <a:solidFill>
            <a:srgbClr val="92D050"/>
          </a:solidFill>
        </p:grpSpPr>
        <p:sp>
          <p:nvSpPr>
            <p:cNvPr id="2313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4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5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6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7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8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19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0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1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2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3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4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5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6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7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8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29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0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1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2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3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4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5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36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353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40588" y="3425825"/>
            <a:ext cx="12700" cy="52388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3"/>
              <a:gd name="T55" fmla="*/ 0 h 43"/>
              <a:gd name="T56" fmla="*/ 33 w 33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9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10438" y="3370263"/>
            <a:ext cx="20637" cy="53975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2"/>
              <a:gd name="T80" fmla="*/ 54 w 54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4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354888" y="3257550"/>
            <a:ext cx="22225" cy="53975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0"/>
              <a:gd name="T37" fmla="*/ 0 h 18"/>
              <a:gd name="T38" fmla="*/ 60 w 6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5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40600" y="3228975"/>
            <a:ext cx="23813" cy="53975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18"/>
              <a:gd name="T29" fmla="*/ 66 w 66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7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177088" y="3133725"/>
            <a:ext cx="7937" cy="52388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"/>
              <a:gd name="T28" fmla="*/ 0 h 42"/>
              <a:gd name="T29" fmla="*/ 17 w 17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8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10413" y="3259138"/>
            <a:ext cx="26987" cy="55562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29"/>
              <a:gd name="T56" fmla="*/ 72 w 72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9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16763" y="3432175"/>
            <a:ext cx="17462" cy="52388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37"/>
              <a:gd name="T47" fmla="*/ 46 w 46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0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21538" y="3263900"/>
            <a:ext cx="11112" cy="52388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9"/>
              <a:gd name="T20" fmla="*/ 26 w 26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2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091363" y="3259138"/>
            <a:ext cx="19050" cy="55562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31"/>
              <a:gd name="T38" fmla="*/ 43 w 4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3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34225" y="3303588"/>
            <a:ext cx="26988" cy="53975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1"/>
              <a:gd name="T88" fmla="*/ 0 h 49"/>
              <a:gd name="T89" fmla="*/ 71 w 71"/>
              <a:gd name="T90" fmla="*/ 49 h 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86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48488" y="3492500"/>
            <a:ext cx="42862" cy="55563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2"/>
              <a:gd name="T76" fmla="*/ 0 h 26"/>
              <a:gd name="T77" fmla="*/ 112 w 112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7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40563" y="3529013"/>
            <a:ext cx="12700" cy="53975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5"/>
              <a:gd name="T23" fmla="*/ 41 w 41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8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7688" y="3413125"/>
            <a:ext cx="31750" cy="50800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1"/>
              <a:gd name="T73" fmla="*/ 0 h 31"/>
              <a:gd name="T74" fmla="*/ 81 w 81"/>
              <a:gd name="T75" fmla="*/ 31 h 3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9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26263" y="3451225"/>
            <a:ext cx="36512" cy="52388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90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75475" y="3460750"/>
            <a:ext cx="33338" cy="53975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46"/>
              <a:gd name="T89" fmla="*/ 86 w 86"/>
              <a:gd name="T90" fmla="*/ 46 h 4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91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24688" y="3465513"/>
            <a:ext cx="22225" cy="50800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8"/>
              <a:gd name="T38" fmla="*/ 59 w 59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292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091363" y="3457575"/>
            <a:ext cx="1587" cy="52388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"/>
              <a:gd name="T31" fmla="*/ 0 h 19"/>
              <a:gd name="T32" fmla="*/ 4 w 4"/>
              <a:gd name="T33" fmla="*/ 19 h 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0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284538"/>
            <a:ext cx="19050" cy="5397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50"/>
              <a:gd name="T38" fmla="*/ 46 w 46"/>
              <a:gd name="T39" fmla="*/ 50 h 5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1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5275" y="3259138"/>
            <a:ext cx="28575" cy="55562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0"/>
              <a:gd name="T59" fmla="*/ 66 w 66"/>
              <a:gd name="T60" fmla="*/ 80 h 8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2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91288" y="3244850"/>
            <a:ext cx="7937" cy="52388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48"/>
              <a:gd name="T47" fmla="*/ 20 w 20"/>
              <a:gd name="T48" fmla="*/ 48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2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15100" y="3278188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93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511925" y="3278188"/>
            <a:ext cx="7938" cy="53975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12"/>
              <a:gd name="T23" fmla="*/ 20 w 20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4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19850" y="3133725"/>
            <a:ext cx="20638" cy="52388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3"/>
              <a:gd name="T43" fmla="*/ 0 h 30"/>
              <a:gd name="T44" fmla="*/ 53 w 53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5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13563" y="3471863"/>
            <a:ext cx="9525" cy="5397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6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394575" y="3432175"/>
            <a:ext cx="25400" cy="52388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5"/>
              <a:gd name="T79" fmla="*/ 0 h 68"/>
              <a:gd name="T80" fmla="*/ 65 w 65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7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403975" y="3043238"/>
            <a:ext cx="255588" cy="3429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5"/>
              <a:gd name="T154" fmla="*/ 0 h 694"/>
              <a:gd name="T155" fmla="*/ 625 w 625"/>
              <a:gd name="T156" fmla="*/ 694 h 6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2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1475" y="3089275"/>
            <a:ext cx="238125" cy="239713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85"/>
              <a:gd name="T148" fmla="*/ 0 h 493"/>
              <a:gd name="T149" fmla="*/ 585 w 585"/>
              <a:gd name="T150" fmla="*/ 493 h 4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3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53263" y="3467100"/>
            <a:ext cx="85725" cy="53975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2"/>
              <a:gd name="T73" fmla="*/ 0 h 105"/>
              <a:gd name="T74" fmla="*/ 212 w 212"/>
              <a:gd name="T75" fmla="*/ 105 h 10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4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61213" y="3157538"/>
            <a:ext cx="39687" cy="8255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"/>
              <a:gd name="T157" fmla="*/ 0 h 166"/>
              <a:gd name="T158" fmla="*/ 92 w 92"/>
              <a:gd name="T159" fmla="*/ 166 h 16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5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173913" y="3292475"/>
            <a:ext cx="66675" cy="50800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6"/>
              <a:gd name="T142" fmla="*/ 0 h 62"/>
              <a:gd name="T143" fmla="*/ 166 w 166"/>
              <a:gd name="T144" fmla="*/ 62 h 6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6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43763" y="3221038"/>
            <a:ext cx="80962" cy="58737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3"/>
              <a:gd name="T100" fmla="*/ 0 h 121"/>
              <a:gd name="T101" fmla="*/ 193 w 193"/>
              <a:gd name="T102" fmla="*/ 121 h 1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7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54838" y="3163888"/>
            <a:ext cx="155575" cy="214312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79"/>
              <a:gd name="T184" fmla="*/ 0 h 437"/>
              <a:gd name="T185" fmla="*/ 379 w 379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8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42100" y="3387725"/>
            <a:ext cx="233363" cy="8890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78"/>
              <a:gd name="T163" fmla="*/ 0 h 184"/>
              <a:gd name="T164" fmla="*/ 578 w 578"/>
              <a:gd name="T165" fmla="*/ 184 h 1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09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277100" y="3254375"/>
            <a:ext cx="200025" cy="234950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1"/>
              <a:gd name="T163" fmla="*/ 0 h 481"/>
              <a:gd name="T164" fmla="*/ 491 w 491"/>
              <a:gd name="T165" fmla="*/ 481 h 48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10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908675" y="2165350"/>
            <a:ext cx="50800" cy="57150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3"/>
              <a:gd name="T79" fmla="*/ 0 h 117"/>
              <a:gd name="T80" fmla="*/ 133 w 133"/>
              <a:gd name="T81" fmla="*/ 117 h 1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11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470400" y="1611313"/>
            <a:ext cx="206375" cy="165100"/>
          </a:xfrm>
          <a:custGeom>
            <a:avLst/>
            <a:gdLst>
              <a:gd name="T0" fmla="*/ 2147483647 w 505"/>
              <a:gd name="T1" fmla="*/ 2147483647 h 339"/>
              <a:gd name="T2" fmla="*/ 2147483647 w 505"/>
              <a:gd name="T3" fmla="*/ 2147483647 h 339"/>
              <a:gd name="T4" fmla="*/ 2147483647 w 505"/>
              <a:gd name="T5" fmla="*/ 2147483647 h 339"/>
              <a:gd name="T6" fmla="*/ 2147483647 w 505"/>
              <a:gd name="T7" fmla="*/ 2147483647 h 339"/>
              <a:gd name="T8" fmla="*/ 2147483647 w 505"/>
              <a:gd name="T9" fmla="*/ 2147483647 h 339"/>
              <a:gd name="T10" fmla="*/ 2147483647 w 505"/>
              <a:gd name="T11" fmla="*/ 2147483647 h 339"/>
              <a:gd name="T12" fmla="*/ 2147483647 w 505"/>
              <a:gd name="T13" fmla="*/ 2147483647 h 339"/>
              <a:gd name="T14" fmla="*/ 2147483647 w 505"/>
              <a:gd name="T15" fmla="*/ 2147483647 h 339"/>
              <a:gd name="T16" fmla="*/ 2147483647 w 505"/>
              <a:gd name="T17" fmla="*/ 2147483647 h 339"/>
              <a:gd name="T18" fmla="*/ 2147483647 w 505"/>
              <a:gd name="T19" fmla="*/ 2147483647 h 339"/>
              <a:gd name="T20" fmla="*/ 2147483647 w 505"/>
              <a:gd name="T21" fmla="*/ 2147483647 h 339"/>
              <a:gd name="T22" fmla="*/ 2147483647 w 505"/>
              <a:gd name="T23" fmla="*/ 2147483647 h 339"/>
              <a:gd name="T24" fmla="*/ 2147483647 w 505"/>
              <a:gd name="T25" fmla="*/ 2147483647 h 339"/>
              <a:gd name="T26" fmla="*/ 2147483647 w 505"/>
              <a:gd name="T27" fmla="*/ 2147483647 h 339"/>
              <a:gd name="T28" fmla="*/ 2147483647 w 505"/>
              <a:gd name="T29" fmla="*/ 2147483647 h 339"/>
              <a:gd name="T30" fmla="*/ 2147483647 w 505"/>
              <a:gd name="T31" fmla="*/ 2147483647 h 339"/>
              <a:gd name="T32" fmla="*/ 2147483647 w 505"/>
              <a:gd name="T33" fmla="*/ 2147483647 h 339"/>
              <a:gd name="T34" fmla="*/ 2147483647 w 505"/>
              <a:gd name="T35" fmla="*/ 2147483647 h 339"/>
              <a:gd name="T36" fmla="*/ 2147483647 w 505"/>
              <a:gd name="T37" fmla="*/ 2147483647 h 339"/>
              <a:gd name="T38" fmla="*/ 2147483647 w 505"/>
              <a:gd name="T39" fmla="*/ 2147483647 h 339"/>
              <a:gd name="T40" fmla="*/ 2147483647 w 505"/>
              <a:gd name="T41" fmla="*/ 2147483647 h 339"/>
              <a:gd name="T42" fmla="*/ 2147483647 w 505"/>
              <a:gd name="T43" fmla="*/ 2147483647 h 339"/>
              <a:gd name="T44" fmla="*/ 2147483647 w 505"/>
              <a:gd name="T45" fmla="*/ 2147483647 h 339"/>
              <a:gd name="T46" fmla="*/ 2147483647 w 505"/>
              <a:gd name="T47" fmla="*/ 2147483647 h 339"/>
              <a:gd name="T48" fmla="*/ 2147483647 w 505"/>
              <a:gd name="T49" fmla="*/ 2147483647 h 339"/>
              <a:gd name="T50" fmla="*/ 2147483647 w 505"/>
              <a:gd name="T51" fmla="*/ 2147483647 h 339"/>
              <a:gd name="T52" fmla="*/ 2147483647 w 505"/>
              <a:gd name="T53" fmla="*/ 2147483647 h 339"/>
              <a:gd name="T54" fmla="*/ 2147483647 w 505"/>
              <a:gd name="T55" fmla="*/ 2147483647 h 339"/>
              <a:gd name="T56" fmla="*/ 2147483647 w 505"/>
              <a:gd name="T57" fmla="*/ 2147483647 h 339"/>
              <a:gd name="T58" fmla="*/ 2147483647 w 505"/>
              <a:gd name="T59" fmla="*/ 2147483647 h 339"/>
              <a:gd name="T60" fmla="*/ 2147483647 w 505"/>
              <a:gd name="T61" fmla="*/ 2147483647 h 339"/>
              <a:gd name="T62" fmla="*/ 2147483647 w 505"/>
              <a:gd name="T63" fmla="*/ 2147483647 h 339"/>
              <a:gd name="T64" fmla="*/ 2147483647 w 505"/>
              <a:gd name="T65" fmla="*/ 2147483647 h 339"/>
              <a:gd name="T66" fmla="*/ 2147483647 w 505"/>
              <a:gd name="T67" fmla="*/ 2147483647 h 339"/>
              <a:gd name="T68" fmla="*/ 2147483647 w 505"/>
              <a:gd name="T69" fmla="*/ 2147483647 h 339"/>
              <a:gd name="T70" fmla="*/ 2147483647 w 505"/>
              <a:gd name="T71" fmla="*/ 2147483647 h 339"/>
              <a:gd name="T72" fmla="*/ 2147483647 w 505"/>
              <a:gd name="T73" fmla="*/ 2147483647 h 339"/>
              <a:gd name="T74" fmla="*/ 2147483647 w 505"/>
              <a:gd name="T75" fmla="*/ 2147483647 h 339"/>
              <a:gd name="T76" fmla="*/ 2147483647 w 505"/>
              <a:gd name="T77" fmla="*/ 2147483647 h 339"/>
              <a:gd name="T78" fmla="*/ 2147483647 w 505"/>
              <a:gd name="T79" fmla="*/ 2147483647 h 339"/>
              <a:gd name="T80" fmla="*/ 2147483647 w 505"/>
              <a:gd name="T81" fmla="*/ 2147483647 h 339"/>
              <a:gd name="T82" fmla="*/ 2147483647 w 505"/>
              <a:gd name="T83" fmla="*/ 2147483647 h 339"/>
              <a:gd name="T84" fmla="*/ 2147483647 w 505"/>
              <a:gd name="T85" fmla="*/ 2147483647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05"/>
              <a:gd name="T130" fmla="*/ 0 h 339"/>
              <a:gd name="T131" fmla="*/ 505 w 505"/>
              <a:gd name="T132" fmla="*/ 339 h 33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12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529138" y="1801813"/>
            <a:ext cx="136525" cy="66675"/>
          </a:xfrm>
          <a:custGeom>
            <a:avLst/>
            <a:gdLst>
              <a:gd name="T0" fmla="*/ 2147483647 w 338"/>
              <a:gd name="T1" fmla="*/ 0 h 141"/>
              <a:gd name="T2" fmla="*/ 2147483647 w 338"/>
              <a:gd name="T3" fmla="*/ 0 h 141"/>
              <a:gd name="T4" fmla="*/ 2147483647 w 338"/>
              <a:gd name="T5" fmla="*/ 2147483647 h 141"/>
              <a:gd name="T6" fmla="*/ 2147483647 w 338"/>
              <a:gd name="T7" fmla="*/ 2147483647 h 141"/>
              <a:gd name="T8" fmla="*/ 2147483647 w 338"/>
              <a:gd name="T9" fmla="*/ 2147483647 h 141"/>
              <a:gd name="T10" fmla="*/ 2147483647 w 338"/>
              <a:gd name="T11" fmla="*/ 2147483647 h 141"/>
              <a:gd name="T12" fmla="*/ 2147483647 w 338"/>
              <a:gd name="T13" fmla="*/ 2147483647 h 141"/>
              <a:gd name="T14" fmla="*/ 2147483647 w 338"/>
              <a:gd name="T15" fmla="*/ 2147483647 h 141"/>
              <a:gd name="T16" fmla="*/ 2147483647 w 338"/>
              <a:gd name="T17" fmla="*/ 2147483647 h 141"/>
              <a:gd name="T18" fmla="*/ 2147483647 w 338"/>
              <a:gd name="T19" fmla="*/ 2147483647 h 141"/>
              <a:gd name="T20" fmla="*/ 2147483647 w 338"/>
              <a:gd name="T21" fmla="*/ 2147483647 h 141"/>
              <a:gd name="T22" fmla="*/ 2147483647 w 338"/>
              <a:gd name="T23" fmla="*/ 2147483647 h 141"/>
              <a:gd name="T24" fmla="*/ 2147483647 w 338"/>
              <a:gd name="T25" fmla="*/ 2147483647 h 141"/>
              <a:gd name="T26" fmla="*/ 2147483647 w 338"/>
              <a:gd name="T27" fmla="*/ 2147483647 h 141"/>
              <a:gd name="T28" fmla="*/ 2147483647 w 338"/>
              <a:gd name="T29" fmla="*/ 2147483647 h 141"/>
              <a:gd name="T30" fmla="*/ 2147483647 w 338"/>
              <a:gd name="T31" fmla="*/ 2147483647 h 141"/>
              <a:gd name="T32" fmla="*/ 2147483647 w 338"/>
              <a:gd name="T33" fmla="*/ 2147483647 h 141"/>
              <a:gd name="T34" fmla="*/ 2147483647 w 338"/>
              <a:gd name="T35" fmla="*/ 2147483647 h 141"/>
              <a:gd name="T36" fmla="*/ 2147483647 w 338"/>
              <a:gd name="T37" fmla="*/ 2147483647 h 141"/>
              <a:gd name="T38" fmla="*/ 2147483647 w 338"/>
              <a:gd name="T39" fmla="*/ 2147483647 h 141"/>
              <a:gd name="T40" fmla="*/ 2147483647 w 338"/>
              <a:gd name="T41" fmla="*/ 2147483647 h 141"/>
              <a:gd name="T42" fmla="*/ 0 w 338"/>
              <a:gd name="T43" fmla="*/ 2147483647 h 141"/>
              <a:gd name="T44" fmla="*/ 2147483647 w 338"/>
              <a:gd name="T45" fmla="*/ 2147483647 h 141"/>
              <a:gd name="T46" fmla="*/ 2147483647 w 338"/>
              <a:gd name="T47" fmla="*/ 2147483647 h 141"/>
              <a:gd name="T48" fmla="*/ 2147483647 w 338"/>
              <a:gd name="T49" fmla="*/ 2147483647 h 141"/>
              <a:gd name="T50" fmla="*/ 2147483647 w 338"/>
              <a:gd name="T51" fmla="*/ 2147483647 h 141"/>
              <a:gd name="T52" fmla="*/ 2147483647 w 338"/>
              <a:gd name="T53" fmla="*/ 2147483647 h 141"/>
              <a:gd name="T54" fmla="*/ 2147483647 w 338"/>
              <a:gd name="T55" fmla="*/ 2147483647 h 141"/>
              <a:gd name="T56" fmla="*/ 2147483647 w 338"/>
              <a:gd name="T57" fmla="*/ 2147483647 h 141"/>
              <a:gd name="T58" fmla="*/ 2147483647 w 338"/>
              <a:gd name="T59" fmla="*/ 2147483647 h 141"/>
              <a:gd name="T60" fmla="*/ 2147483647 w 338"/>
              <a:gd name="T61" fmla="*/ 2147483647 h 141"/>
              <a:gd name="T62" fmla="*/ 2147483647 w 338"/>
              <a:gd name="T63" fmla="*/ 2147483647 h 141"/>
              <a:gd name="T64" fmla="*/ 2147483647 w 338"/>
              <a:gd name="T65" fmla="*/ 2147483647 h 141"/>
              <a:gd name="T66" fmla="*/ 2147483647 w 338"/>
              <a:gd name="T67" fmla="*/ 2147483647 h 141"/>
              <a:gd name="T68" fmla="*/ 2147483647 w 338"/>
              <a:gd name="T69" fmla="*/ 2147483647 h 141"/>
              <a:gd name="T70" fmla="*/ 2147483647 w 338"/>
              <a:gd name="T71" fmla="*/ 2147483647 h 141"/>
              <a:gd name="T72" fmla="*/ 2147483647 w 338"/>
              <a:gd name="T73" fmla="*/ 2147483647 h 141"/>
              <a:gd name="T74" fmla="*/ 2147483647 w 338"/>
              <a:gd name="T75" fmla="*/ 2147483647 h 141"/>
              <a:gd name="T76" fmla="*/ 2147483647 w 338"/>
              <a:gd name="T77" fmla="*/ 2147483647 h 141"/>
              <a:gd name="T78" fmla="*/ 214748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38"/>
              <a:gd name="T121" fmla="*/ 0 h 141"/>
              <a:gd name="T122" fmla="*/ 338 w 338"/>
              <a:gd name="T123" fmla="*/ 141 h 14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8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622800" y="1481138"/>
            <a:ext cx="103188" cy="60325"/>
          </a:xfrm>
          <a:custGeom>
            <a:avLst/>
            <a:gdLst>
              <a:gd name="T0" fmla="*/ 2147483647 w 259"/>
              <a:gd name="T1" fmla="*/ 2147483647 h 129"/>
              <a:gd name="T2" fmla="*/ 2147483647 w 259"/>
              <a:gd name="T3" fmla="*/ 2147483647 h 129"/>
              <a:gd name="T4" fmla="*/ 2147483647 w 259"/>
              <a:gd name="T5" fmla="*/ 2147483647 h 129"/>
              <a:gd name="T6" fmla="*/ 2147483647 w 259"/>
              <a:gd name="T7" fmla="*/ 2147483647 h 129"/>
              <a:gd name="T8" fmla="*/ 2147483647 w 259"/>
              <a:gd name="T9" fmla="*/ 2147483647 h 129"/>
              <a:gd name="T10" fmla="*/ 2147483647 w 259"/>
              <a:gd name="T11" fmla="*/ 2147483647 h 129"/>
              <a:gd name="T12" fmla="*/ 2147483647 w 259"/>
              <a:gd name="T13" fmla="*/ 2147483647 h 129"/>
              <a:gd name="T14" fmla="*/ 2147483647 w 259"/>
              <a:gd name="T15" fmla="*/ 2147483647 h 129"/>
              <a:gd name="T16" fmla="*/ 2147483647 w 259"/>
              <a:gd name="T17" fmla="*/ 2147483647 h 129"/>
              <a:gd name="T18" fmla="*/ 2147483647 w 259"/>
              <a:gd name="T19" fmla="*/ 2147483647 h 129"/>
              <a:gd name="T20" fmla="*/ 2147483647 w 259"/>
              <a:gd name="T21" fmla="*/ 2147483647 h 129"/>
              <a:gd name="T22" fmla="*/ 2147483647 w 259"/>
              <a:gd name="T23" fmla="*/ 2147483647 h 129"/>
              <a:gd name="T24" fmla="*/ 2147483647 w 259"/>
              <a:gd name="T25" fmla="*/ 2147483647 h 129"/>
              <a:gd name="T26" fmla="*/ 2147483647 w 259"/>
              <a:gd name="T27" fmla="*/ 2147483647 h 129"/>
              <a:gd name="T28" fmla="*/ 2147483647 w 259"/>
              <a:gd name="T29" fmla="*/ 2147483647 h 129"/>
              <a:gd name="T30" fmla="*/ 2147483647 w 259"/>
              <a:gd name="T31" fmla="*/ 2147483647 h 129"/>
              <a:gd name="T32" fmla="*/ 2147483647 w 259"/>
              <a:gd name="T33" fmla="*/ 2147483647 h 129"/>
              <a:gd name="T34" fmla="*/ 2147483647 w 259"/>
              <a:gd name="T35" fmla="*/ 2147483647 h 129"/>
              <a:gd name="T36" fmla="*/ 2147483647 w 259"/>
              <a:gd name="T37" fmla="*/ 2147483647 h 129"/>
              <a:gd name="T38" fmla="*/ 2147483647 w 259"/>
              <a:gd name="T39" fmla="*/ 2147483647 h 129"/>
              <a:gd name="T40" fmla="*/ 2147483647 w 259"/>
              <a:gd name="T41" fmla="*/ 2147483647 h 129"/>
              <a:gd name="T42" fmla="*/ 2147483647 w 259"/>
              <a:gd name="T43" fmla="*/ 2147483647 h 129"/>
              <a:gd name="T44" fmla="*/ 2147483647 w 259"/>
              <a:gd name="T45" fmla="*/ 0 h 129"/>
              <a:gd name="T46" fmla="*/ 2147483647 w 259"/>
              <a:gd name="T47" fmla="*/ 0 h 129"/>
              <a:gd name="T48" fmla="*/ 2147483647 w 259"/>
              <a:gd name="T49" fmla="*/ 0 h 129"/>
              <a:gd name="T50" fmla="*/ 2147483647 w 259"/>
              <a:gd name="T51" fmla="*/ 0 h 129"/>
              <a:gd name="T52" fmla="*/ 2147483647 w 259"/>
              <a:gd name="T53" fmla="*/ 2147483647 h 129"/>
              <a:gd name="T54" fmla="*/ 2147483647 w 259"/>
              <a:gd name="T55" fmla="*/ 2147483647 h 129"/>
              <a:gd name="T56" fmla="*/ 2147483647 w 259"/>
              <a:gd name="T57" fmla="*/ 2147483647 h 129"/>
              <a:gd name="T58" fmla="*/ 2147483647 w 259"/>
              <a:gd name="T59" fmla="*/ 2147483647 h 129"/>
              <a:gd name="T60" fmla="*/ 2147483647 w 259"/>
              <a:gd name="T61" fmla="*/ 2147483647 h 129"/>
              <a:gd name="T62" fmla="*/ 2147483647 w 259"/>
              <a:gd name="T63" fmla="*/ 2147483647 h 129"/>
              <a:gd name="T64" fmla="*/ 2147483647 w 259"/>
              <a:gd name="T65" fmla="*/ 2147483647 h 129"/>
              <a:gd name="T66" fmla="*/ 0 w 259"/>
              <a:gd name="T67" fmla="*/ 2147483647 h 129"/>
              <a:gd name="T68" fmla="*/ 0 w 259"/>
              <a:gd name="T69" fmla="*/ 2147483647 h 129"/>
              <a:gd name="T70" fmla="*/ 0 w 259"/>
              <a:gd name="T71" fmla="*/ 2147483647 h 129"/>
              <a:gd name="T72" fmla="*/ 2147483647 w 259"/>
              <a:gd name="T73" fmla="*/ 2147483647 h 129"/>
              <a:gd name="T74" fmla="*/ 2147483647 w 259"/>
              <a:gd name="T75" fmla="*/ 2147483647 h 129"/>
              <a:gd name="T76" fmla="*/ 2147483647 w 259"/>
              <a:gd name="T77" fmla="*/ 2147483647 h 129"/>
              <a:gd name="T78" fmla="*/ 2147483647 w 259"/>
              <a:gd name="T79" fmla="*/ 2147483647 h 129"/>
              <a:gd name="T80" fmla="*/ 2147483647 w 259"/>
              <a:gd name="T81" fmla="*/ 2147483647 h 129"/>
              <a:gd name="T82" fmla="*/ 2147483647 w 259"/>
              <a:gd name="T83" fmla="*/ 2147483647 h 129"/>
              <a:gd name="T84" fmla="*/ 2147483647 w 259"/>
              <a:gd name="T85" fmla="*/ 2147483647 h 129"/>
              <a:gd name="T86" fmla="*/ 2147483647 w 259"/>
              <a:gd name="T87" fmla="*/ 2147483647 h 129"/>
              <a:gd name="T88" fmla="*/ 2147483647 w 259"/>
              <a:gd name="T89" fmla="*/ 2147483647 h 129"/>
              <a:gd name="T90" fmla="*/ 2147483647 w 259"/>
              <a:gd name="T91" fmla="*/ 2147483647 h 129"/>
              <a:gd name="T92" fmla="*/ 2147483647 w 259"/>
              <a:gd name="T93" fmla="*/ 2147483647 h 129"/>
              <a:gd name="T94" fmla="*/ 2147483647 w 259"/>
              <a:gd name="T95" fmla="*/ 2147483647 h 129"/>
              <a:gd name="T96" fmla="*/ 2147483647 w 259"/>
              <a:gd name="T97" fmla="*/ 2147483647 h 129"/>
              <a:gd name="T98" fmla="*/ 2147483647 w 259"/>
              <a:gd name="T99" fmla="*/ 2147483647 h 129"/>
              <a:gd name="T100" fmla="*/ 2147483647 w 259"/>
              <a:gd name="T101" fmla="*/ 2147483647 h 129"/>
              <a:gd name="T102" fmla="*/ 2147483647 w 259"/>
              <a:gd name="T103" fmla="*/ 2147483647 h 129"/>
              <a:gd name="T104" fmla="*/ 2147483647 w 259"/>
              <a:gd name="T105" fmla="*/ 2147483647 h 129"/>
              <a:gd name="T106" fmla="*/ 2147483647 w 259"/>
              <a:gd name="T107" fmla="*/ 2147483647 h 129"/>
              <a:gd name="T108" fmla="*/ 2147483647 w 259"/>
              <a:gd name="T109" fmla="*/ 2147483647 h 129"/>
              <a:gd name="T110" fmla="*/ 2147483647 w 259"/>
              <a:gd name="T111" fmla="*/ 2147483647 h 129"/>
              <a:gd name="T112" fmla="*/ 2147483647 w 259"/>
              <a:gd name="T113" fmla="*/ 2147483647 h 129"/>
              <a:gd name="T114" fmla="*/ 2147483647 w 259"/>
              <a:gd name="T115" fmla="*/ 2147483647 h 129"/>
              <a:gd name="T116" fmla="*/ 2147483647 w 259"/>
              <a:gd name="T117" fmla="*/ 214748364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59"/>
              <a:gd name="T178" fmla="*/ 0 h 129"/>
              <a:gd name="T179" fmla="*/ 259 w 259"/>
              <a:gd name="T180" fmla="*/ 129 h 1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999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635500" y="1804988"/>
            <a:ext cx="166688" cy="133350"/>
          </a:xfrm>
          <a:custGeom>
            <a:avLst/>
            <a:gdLst>
              <a:gd name="T0" fmla="*/ 2147483647 w 425"/>
              <a:gd name="T1" fmla="*/ 2147483647 h 272"/>
              <a:gd name="T2" fmla="*/ 2147483647 w 425"/>
              <a:gd name="T3" fmla="*/ 2147483647 h 272"/>
              <a:gd name="T4" fmla="*/ 2147483647 w 425"/>
              <a:gd name="T5" fmla="*/ 2147483647 h 272"/>
              <a:gd name="T6" fmla="*/ 2147483647 w 425"/>
              <a:gd name="T7" fmla="*/ 2147483647 h 272"/>
              <a:gd name="T8" fmla="*/ 2147483647 w 425"/>
              <a:gd name="T9" fmla="*/ 2147483647 h 272"/>
              <a:gd name="T10" fmla="*/ 2147483647 w 425"/>
              <a:gd name="T11" fmla="*/ 2147483647 h 272"/>
              <a:gd name="T12" fmla="*/ 2147483647 w 425"/>
              <a:gd name="T13" fmla="*/ 2147483647 h 272"/>
              <a:gd name="T14" fmla="*/ 2147483647 w 425"/>
              <a:gd name="T15" fmla="*/ 2147483647 h 272"/>
              <a:gd name="T16" fmla="*/ 2147483647 w 425"/>
              <a:gd name="T17" fmla="*/ 2147483647 h 272"/>
              <a:gd name="T18" fmla="*/ 2147483647 w 425"/>
              <a:gd name="T19" fmla="*/ 2147483647 h 272"/>
              <a:gd name="T20" fmla="*/ 2147483647 w 425"/>
              <a:gd name="T21" fmla="*/ 2147483647 h 272"/>
              <a:gd name="T22" fmla="*/ 2147483647 w 425"/>
              <a:gd name="T23" fmla="*/ 2147483647 h 272"/>
              <a:gd name="T24" fmla="*/ 2147483647 w 425"/>
              <a:gd name="T25" fmla="*/ 2147483647 h 272"/>
              <a:gd name="T26" fmla="*/ 2147483647 w 425"/>
              <a:gd name="T27" fmla="*/ 2147483647 h 272"/>
              <a:gd name="T28" fmla="*/ 2147483647 w 425"/>
              <a:gd name="T29" fmla="*/ 2147483647 h 272"/>
              <a:gd name="T30" fmla="*/ 2147483647 w 425"/>
              <a:gd name="T31" fmla="*/ 2147483647 h 272"/>
              <a:gd name="T32" fmla="*/ 2147483647 w 425"/>
              <a:gd name="T33" fmla="*/ 2147483647 h 272"/>
              <a:gd name="T34" fmla="*/ 2147483647 w 425"/>
              <a:gd name="T35" fmla="*/ 2147483647 h 272"/>
              <a:gd name="T36" fmla="*/ 2147483647 w 425"/>
              <a:gd name="T37" fmla="*/ 2147483647 h 272"/>
              <a:gd name="T38" fmla="*/ 0 w 425"/>
              <a:gd name="T39" fmla="*/ 2147483647 h 272"/>
              <a:gd name="T40" fmla="*/ 2147483647 w 425"/>
              <a:gd name="T41" fmla="*/ 2147483647 h 272"/>
              <a:gd name="T42" fmla="*/ 2147483647 w 425"/>
              <a:gd name="T43" fmla="*/ 2147483647 h 272"/>
              <a:gd name="T44" fmla="*/ 2147483647 w 425"/>
              <a:gd name="T45" fmla="*/ 2147483647 h 272"/>
              <a:gd name="T46" fmla="*/ 2147483647 w 425"/>
              <a:gd name="T47" fmla="*/ 2147483647 h 272"/>
              <a:gd name="T48" fmla="*/ 2147483647 w 425"/>
              <a:gd name="T49" fmla="*/ 2147483647 h 272"/>
              <a:gd name="T50" fmla="*/ 2147483647 w 425"/>
              <a:gd name="T51" fmla="*/ 2147483647 h 272"/>
              <a:gd name="T52" fmla="*/ 2147483647 w 425"/>
              <a:gd name="T53" fmla="*/ 2147483647 h 272"/>
              <a:gd name="T54" fmla="*/ 2147483647 w 425"/>
              <a:gd name="T55" fmla="*/ 2147483647 h 272"/>
              <a:gd name="T56" fmla="*/ 2147483647 w 425"/>
              <a:gd name="T57" fmla="*/ 2147483647 h 272"/>
              <a:gd name="T58" fmla="*/ 2147483647 w 425"/>
              <a:gd name="T59" fmla="*/ 2147483647 h 272"/>
              <a:gd name="T60" fmla="*/ 2147483647 w 425"/>
              <a:gd name="T61" fmla="*/ 2147483647 h 272"/>
              <a:gd name="T62" fmla="*/ 2147483647 w 425"/>
              <a:gd name="T63" fmla="*/ 2147483647 h 272"/>
              <a:gd name="T64" fmla="*/ 2147483647 w 425"/>
              <a:gd name="T65" fmla="*/ 2147483647 h 272"/>
              <a:gd name="T66" fmla="*/ 2147483647 w 425"/>
              <a:gd name="T67" fmla="*/ 0 h 272"/>
              <a:gd name="T68" fmla="*/ 2147483647 w 425"/>
              <a:gd name="T69" fmla="*/ 2147483647 h 272"/>
              <a:gd name="T70" fmla="*/ 2147483647 w 425"/>
              <a:gd name="T71" fmla="*/ 2147483647 h 272"/>
              <a:gd name="T72" fmla="*/ 2147483647 w 425"/>
              <a:gd name="T73" fmla="*/ 2147483647 h 272"/>
              <a:gd name="T74" fmla="*/ 2147483647 w 425"/>
              <a:gd name="T75" fmla="*/ 2147483647 h 272"/>
              <a:gd name="T76" fmla="*/ 2147483647 w 425"/>
              <a:gd name="T77" fmla="*/ 2147483647 h 272"/>
              <a:gd name="T78" fmla="*/ 2147483647 w 425"/>
              <a:gd name="T79" fmla="*/ 2147483647 h 272"/>
              <a:gd name="T80" fmla="*/ 2147483647 w 425"/>
              <a:gd name="T81" fmla="*/ 2147483647 h 272"/>
              <a:gd name="T82" fmla="*/ 2147483647 w 425"/>
              <a:gd name="T83" fmla="*/ 2147483647 h 272"/>
              <a:gd name="T84" fmla="*/ 2147483647 w 425"/>
              <a:gd name="T85" fmla="*/ 2147483647 h 272"/>
              <a:gd name="T86" fmla="*/ 2147483647 w 425"/>
              <a:gd name="T87" fmla="*/ 2147483647 h 272"/>
              <a:gd name="T88" fmla="*/ 2147483647 w 425"/>
              <a:gd name="T89" fmla="*/ 2147483647 h 272"/>
              <a:gd name="T90" fmla="*/ 2147483647 w 425"/>
              <a:gd name="T91" fmla="*/ 2147483647 h 272"/>
              <a:gd name="T92" fmla="*/ 2147483647 w 425"/>
              <a:gd name="T93" fmla="*/ 2147483647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25"/>
              <a:gd name="T142" fmla="*/ 0 h 272"/>
              <a:gd name="T143" fmla="*/ 425 w 425"/>
              <a:gd name="T144" fmla="*/ 272 h 27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6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770188" y="2771775"/>
            <a:ext cx="14287" cy="52388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000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732338" y="1797050"/>
            <a:ext cx="79375" cy="74613"/>
          </a:xfrm>
          <a:custGeom>
            <a:avLst/>
            <a:gdLst>
              <a:gd name="T0" fmla="*/ 2147483647 w 192"/>
              <a:gd name="T1" fmla="*/ 2147483647 h 154"/>
              <a:gd name="T2" fmla="*/ 2147483647 w 192"/>
              <a:gd name="T3" fmla="*/ 0 h 154"/>
              <a:gd name="T4" fmla="*/ 2147483647 w 192"/>
              <a:gd name="T5" fmla="*/ 2147483647 h 154"/>
              <a:gd name="T6" fmla="*/ 2147483647 w 192"/>
              <a:gd name="T7" fmla="*/ 2147483647 h 154"/>
              <a:gd name="T8" fmla="*/ 2147483647 w 192"/>
              <a:gd name="T9" fmla="*/ 2147483647 h 154"/>
              <a:gd name="T10" fmla="*/ 2147483647 w 192"/>
              <a:gd name="T11" fmla="*/ 2147483647 h 154"/>
              <a:gd name="T12" fmla="*/ 2147483647 w 192"/>
              <a:gd name="T13" fmla="*/ 2147483647 h 154"/>
              <a:gd name="T14" fmla="*/ 2147483647 w 192"/>
              <a:gd name="T15" fmla="*/ 2147483647 h 154"/>
              <a:gd name="T16" fmla="*/ 2147483647 w 192"/>
              <a:gd name="T17" fmla="*/ 2147483647 h 154"/>
              <a:gd name="T18" fmla="*/ 2147483647 w 192"/>
              <a:gd name="T19" fmla="*/ 2147483647 h 154"/>
              <a:gd name="T20" fmla="*/ 2147483647 w 192"/>
              <a:gd name="T21" fmla="*/ 2147483647 h 154"/>
              <a:gd name="T22" fmla="*/ 2147483647 w 192"/>
              <a:gd name="T23" fmla="*/ 2147483647 h 154"/>
              <a:gd name="T24" fmla="*/ 2147483647 w 192"/>
              <a:gd name="T25" fmla="*/ 2147483647 h 154"/>
              <a:gd name="T26" fmla="*/ 2147483647 w 192"/>
              <a:gd name="T27" fmla="*/ 2147483647 h 154"/>
              <a:gd name="T28" fmla="*/ 2147483647 w 192"/>
              <a:gd name="T29" fmla="*/ 2147483647 h 154"/>
              <a:gd name="T30" fmla="*/ 2147483647 w 192"/>
              <a:gd name="T31" fmla="*/ 2147483647 h 154"/>
              <a:gd name="T32" fmla="*/ 2147483647 w 192"/>
              <a:gd name="T33" fmla="*/ 2147483647 h 154"/>
              <a:gd name="T34" fmla="*/ 2147483647 w 192"/>
              <a:gd name="T35" fmla="*/ 2147483647 h 154"/>
              <a:gd name="T36" fmla="*/ 2147483647 w 192"/>
              <a:gd name="T37" fmla="*/ 2147483647 h 154"/>
              <a:gd name="T38" fmla="*/ 2147483647 w 192"/>
              <a:gd name="T39" fmla="*/ 2147483647 h 154"/>
              <a:gd name="T40" fmla="*/ 2147483647 w 192"/>
              <a:gd name="T41" fmla="*/ 2147483647 h 154"/>
              <a:gd name="T42" fmla="*/ 2147483647 w 192"/>
              <a:gd name="T43" fmla="*/ 2147483647 h 154"/>
              <a:gd name="T44" fmla="*/ 2147483647 w 192"/>
              <a:gd name="T45" fmla="*/ 2147483647 h 154"/>
              <a:gd name="T46" fmla="*/ 2147483647 w 192"/>
              <a:gd name="T47" fmla="*/ 2147483647 h 154"/>
              <a:gd name="T48" fmla="*/ 2147483647 w 192"/>
              <a:gd name="T49" fmla="*/ 2147483647 h 154"/>
              <a:gd name="T50" fmla="*/ 2147483647 w 192"/>
              <a:gd name="T51" fmla="*/ 2147483647 h 154"/>
              <a:gd name="T52" fmla="*/ 0 w 192"/>
              <a:gd name="T53" fmla="*/ 2147483647 h 154"/>
              <a:gd name="T54" fmla="*/ 2147483647 w 192"/>
              <a:gd name="T55" fmla="*/ 2147483647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2"/>
              <a:gd name="T85" fmla="*/ 0 h 154"/>
              <a:gd name="T86" fmla="*/ 192 w 192"/>
              <a:gd name="T87" fmla="*/ 154 h 15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1" name="Freeform 349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5132388" y="2008188"/>
            <a:ext cx="44450" cy="58737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7"/>
              <a:gd name="T73" fmla="*/ 0 h 123"/>
              <a:gd name="T74" fmla="*/ 107 w 107"/>
              <a:gd name="T75" fmla="*/ 123 h 1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2" name="Freeform 350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637213" y="2020888"/>
            <a:ext cx="193675" cy="114300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234"/>
              <a:gd name="T134" fmla="*/ 471 w 471"/>
              <a:gd name="T135" fmla="*/ 234 h 23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3" name="Freeform 351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683250" y="1954213"/>
            <a:ext cx="211138" cy="117475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25"/>
              <a:gd name="T97" fmla="*/ 0 h 241"/>
              <a:gd name="T98" fmla="*/ 525 w 525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4" name="Freeform 352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316538" y="1968500"/>
            <a:ext cx="319087" cy="212725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430"/>
              <a:gd name="T167" fmla="*/ 784 w 784"/>
              <a:gd name="T168" fmla="*/ 430 h 4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005" name="Freeform 353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4579938" y="1863725"/>
            <a:ext cx="100012" cy="139700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6"/>
              <a:gd name="T142" fmla="*/ 0 h 284"/>
              <a:gd name="T143" fmla="*/ 246 w 246"/>
              <a:gd name="T144" fmla="*/ 284 h 2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06" name="Freeform 354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624388" y="1965325"/>
            <a:ext cx="63500" cy="55563"/>
          </a:xfrm>
          <a:custGeom>
            <a:avLst/>
            <a:gdLst>
              <a:gd name="T0" fmla="*/ 2147483647 w 160"/>
              <a:gd name="T1" fmla="*/ 0 h 117"/>
              <a:gd name="T2" fmla="*/ 2147483647 w 160"/>
              <a:gd name="T3" fmla="*/ 2147483647 h 117"/>
              <a:gd name="T4" fmla="*/ 2147483647 w 160"/>
              <a:gd name="T5" fmla="*/ 2147483647 h 117"/>
              <a:gd name="T6" fmla="*/ 2147483647 w 160"/>
              <a:gd name="T7" fmla="*/ 2147483647 h 117"/>
              <a:gd name="T8" fmla="*/ 2147483647 w 160"/>
              <a:gd name="T9" fmla="*/ 2147483647 h 117"/>
              <a:gd name="T10" fmla="*/ 2147483647 w 160"/>
              <a:gd name="T11" fmla="*/ 2147483647 h 117"/>
              <a:gd name="T12" fmla="*/ 2147483647 w 160"/>
              <a:gd name="T13" fmla="*/ 2147483647 h 117"/>
              <a:gd name="T14" fmla="*/ 2147483647 w 160"/>
              <a:gd name="T15" fmla="*/ 2147483647 h 117"/>
              <a:gd name="T16" fmla="*/ 2147483647 w 160"/>
              <a:gd name="T17" fmla="*/ 2147483647 h 117"/>
              <a:gd name="T18" fmla="*/ 2147483647 w 160"/>
              <a:gd name="T19" fmla="*/ 2147483647 h 117"/>
              <a:gd name="T20" fmla="*/ 2147483647 w 160"/>
              <a:gd name="T21" fmla="*/ 2147483647 h 117"/>
              <a:gd name="T22" fmla="*/ 2147483647 w 160"/>
              <a:gd name="T23" fmla="*/ 2147483647 h 117"/>
              <a:gd name="T24" fmla="*/ 2147483647 w 160"/>
              <a:gd name="T25" fmla="*/ 2147483647 h 117"/>
              <a:gd name="T26" fmla="*/ 2147483647 w 160"/>
              <a:gd name="T27" fmla="*/ 2147483647 h 117"/>
              <a:gd name="T28" fmla="*/ 2147483647 w 160"/>
              <a:gd name="T29" fmla="*/ 2147483647 h 117"/>
              <a:gd name="T30" fmla="*/ 2147483647 w 160"/>
              <a:gd name="T31" fmla="*/ 2147483647 h 117"/>
              <a:gd name="T32" fmla="*/ 2147483647 w 160"/>
              <a:gd name="T33" fmla="*/ 2147483647 h 117"/>
              <a:gd name="T34" fmla="*/ 2147483647 w 160"/>
              <a:gd name="T35" fmla="*/ 2147483647 h 117"/>
              <a:gd name="T36" fmla="*/ 2147483647 w 160"/>
              <a:gd name="T37" fmla="*/ 2147483647 h 117"/>
              <a:gd name="T38" fmla="*/ 2147483647 w 160"/>
              <a:gd name="T39" fmla="*/ 2147483647 h 117"/>
              <a:gd name="T40" fmla="*/ 2147483647 w 160"/>
              <a:gd name="T41" fmla="*/ 2147483647 h 117"/>
              <a:gd name="T42" fmla="*/ 2147483647 w 160"/>
              <a:gd name="T43" fmla="*/ 2147483647 h 117"/>
              <a:gd name="T44" fmla="*/ 2147483647 w 160"/>
              <a:gd name="T45" fmla="*/ 2147483647 h 117"/>
              <a:gd name="T46" fmla="*/ 2147483647 w 160"/>
              <a:gd name="T47" fmla="*/ 2147483647 h 117"/>
              <a:gd name="T48" fmla="*/ 2147483647 w 160"/>
              <a:gd name="T49" fmla="*/ 2147483647 h 117"/>
              <a:gd name="T50" fmla="*/ 2147483647 w 160"/>
              <a:gd name="T51" fmla="*/ 2147483647 h 117"/>
              <a:gd name="T52" fmla="*/ 0 w 160"/>
              <a:gd name="T53" fmla="*/ 2147483647 h 117"/>
              <a:gd name="T54" fmla="*/ 2147483647 w 160"/>
              <a:gd name="T55" fmla="*/ 2147483647 h 117"/>
              <a:gd name="T56" fmla="*/ 2147483647 w 160"/>
              <a:gd name="T57" fmla="*/ 2147483647 h 117"/>
              <a:gd name="T58" fmla="*/ 2147483647 w 160"/>
              <a:gd name="T59" fmla="*/ 2147483647 h 117"/>
              <a:gd name="T60" fmla="*/ 2147483647 w 160"/>
              <a:gd name="T61" fmla="*/ 2147483647 h 117"/>
              <a:gd name="T62" fmla="*/ 2147483647 w 160"/>
              <a:gd name="T63" fmla="*/ 2147483647 h 117"/>
              <a:gd name="T64" fmla="*/ 214748364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0"/>
              <a:gd name="T100" fmla="*/ 0 h 117"/>
              <a:gd name="T101" fmla="*/ 160 w 160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5" name="Freeform 355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702175" y="2546350"/>
            <a:ext cx="384175" cy="569913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86" name="Freeform 356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5154613" y="2862263"/>
            <a:ext cx="227012" cy="403225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87" name="Freeform 357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160963" y="2851150"/>
            <a:ext cx="36512" cy="53975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88" name="Freeform 358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4973638" y="2768600"/>
            <a:ext cx="338137" cy="350838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007" name="Line 359"/>
          <p:cNvSpPr>
            <a:spLocks noChangeShapeType="1"/>
          </p:cNvSpPr>
          <p:nvPr>
            <p:custDataLst>
              <p:tags r:id="rId261"/>
            </p:custDataLst>
          </p:nvPr>
        </p:nvSpPr>
        <p:spPr bwMode="auto">
          <a:xfrm flipH="1">
            <a:off x="2047875" y="3251200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90" name="Freeform 360"/>
          <p:cNvSpPr>
            <a:spLocks/>
          </p:cNvSpPr>
          <p:nvPr>
            <p:custDataLst>
              <p:tags r:id="rId262"/>
            </p:custDataLst>
          </p:nvPr>
        </p:nvSpPr>
        <p:spPr bwMode="auto">
          <a:xfrm>
            <a:off x="2047875" y="3259138"/>
            <a:ext cx="11113" cy="55562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91" name="Freeform 361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2054225" y="3248025"/>
            <a:ext cx="4763" cy="52388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11" name="Group 362"/>
          <p:cNvGrpSpPr>
            <a:grpSpLocks/>
          </p:cNvGrpSpPr>
          <p:nvPr>
            <p:custDataLst>
              <p:tags r:id="rId264"/>
            </p:custDataLst>
          </p:nvPr>
        </p:nvGrpSpPr>
        <p:grpSpPr bwMode="auto">
          <a:xfrm>
            <a:off x="2047427" y="3186784"/>
            <a:ext cx="389074" cy="187880"/>
            <a:chOff x="912" y="2626"/>
            <a:chExt cx="311" cy="127"/>
          </a:xfrm>
          <a:solidFill>
            <a:schemeClr val="accent5"/>
          </a:solidFill>
        </p:grpSpPr>
        <p:sp>
          <p:nvSpPr>
            <p:cNvPr id="2393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94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395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396" name="Freeform 366"/>
          <p:cNvSpPr>
            <a:spLocks/>
          </p:cNvSpPr>
          <p:nvPr>
            <p:custDataLst>
              <p:tags r:id="rId265"/>
            </p:custDataLst>
          </p:nvPr>
        </p:nvSpPr>
        <p:spPr bwMode="auto">
          <a:xfrm>
            <a:off x="5446713" y="3856038"/>
            <a:ext cx="17462" cy="53975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97" name="Freeform 367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419725" y="3879850"/>
            <a:ext cx="22225" cy="53975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12" name="Group 368"/>
          <p:cNvGrpSpPr>
            <a:grpSpLocks/>
          </p:cNvGrpSpPr>
          <p:nvPr>
            <p:custDataLst>
              <p:tags r:id="rId267"/>
            </p:custDataLst>
          </p:nvPr>
        </p:nvGrpSpPr>
        <p:grpSpPr bwMode="auto">
          <a:xfrm>
            <a:off x="5272449" y="3407210"/>
            <a:ext cx="156813" cy="96158"/>
            <a:chOff x="3481" y="2773"/>
            <a:chExt cx="125" cy="65"/>
          </a:xfrm>
          <a:solidFill>
            <a:schemeClr val="tx2">
              <a:lumMod val="75000"/>
            </a:schemeClr>
          </a:solidFill>
        </p:grpSpPr>
        <p:sp>
          <p:nvSpPr>
            <p:cNvPr id="2399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0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1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2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3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4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5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6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7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8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09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410" name="Freeform 380"/>
          <p:cNvSpPr>
            <a:spLocks/>
          </p:cNvSpPr>
          <p:nvPr>
            <p:custDataLst>
              <p:tags r:id="rId268"/>
            </p:custDataLst>
          </p:nvPr>
        </p:nvSpPr>
        <p:spPr bwMode="auto">
          <a:xfrm>
            <a:off x="4460875" y="3400425"/>
            <a:ext cx="296863" cy="352425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11" name="Freeform 381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470400" y="3375025"/>
            <a:ext cx="14288" cy="55563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12" name="Freeform 382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565650" y="3879850"/>
            <a:ext cx="369888" cy="371475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13" name="Freeform 383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702175" y="2546350"/>
            <a:ext cx="384175" cy="569913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13" name="Group 391"/>
          <p:cNvGrpSpPr>
            <a:grpSpLocks/>
          </p:cNvGrpSpPr>
          <p:nvPr>
            <p:custDataLst>
              <p:tags r:id="rId272"/>
            </p:custDataLst>
          </p:nvPr>
        </p:nvGrpSpPr>
        <p:grpSpPr bwMode="auto">
          <a:xfrm>
            <a:off x="1562194" y="926310"/>
            <a:ext cx="1767845" cy="1056269"/>
            <a:chOff x="527" y="1110"/>
            <a:chExt cx="1410" cy="709"/>
          </a:xfrm>
          <a:solidFill>
            <a:schemeClr val="accent5">
              <a:lumMod val="75000"/>
            </a:schemeClr>
          </a:solidFill>
        </p:grpSpPr>
        <p:sp>
          <p:nvSpPr>
            <p:cNvPr id="242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2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3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4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5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6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6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6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6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464" name="Freeform 434"/>
          <p:cNvSpPr>
            <a:spLocks/>
          </p:cNvSpPr>
          <p:nvPr>
            <p:custDataLst>
              <p:tags r:id="rId273"/>
            </p:custDataLst>
          </p:nvPr>
        </p:nvSpPr>
        <p:spPr bwMode="auto">
          <a:xfrm>
            <a:off x="4889500" y="3111500"/>
            <a:ext cx="117475" cy="147638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65" name="Freeform 435"/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4987925" y="3251200"/>
            <a:ext cx="6350" cy="53975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66" name="Freeform 436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513263" y="2540000"/>
            <a:ext cx="231775" cy="466725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42" name="Freeform 437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275138" y="1965325"/>
            <a:ext cx="14287" cy="52388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6"/>
              <a:gd name="T17" fmla="*/ 45 w 45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grpSp>
        <p:nvGrpSpPr>
          <p:cNvPr id="14" name="Group 438"/>
          <p:cNvGrpSpPr>
            <a:grpSpLocks/>
          </p:cNvGrpSpPr>
          <p:nvPr>
            <p:custDataLst>
              <p:tags r:id="rId277"/>
            </p:custDataLst>
          </p:nvPr>
        </p:nvGrpSpPr>
        <p:grpSpPr bwMode="auto">
          <a:xfrm>
            <a:off x="2627339" y="3885045"/>
            <a:ext cx="358007" cy="961589"/>
            <a:chOff x="1589" y="3126"/>
            <a:chExt cx="290" cy="657"/>
          </a:xfrm>
          <a:solidFill>
            <a:schemeClr val="accent5"/>
          </a:solidFill>
        </p:grpSpPr>
        <p:sp>
          <p:nvSpPr>
            <p:cNvPr id="246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7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47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914400">
                <a:defRPr/>
              </a:pPr>
              <a:endParaRPr lang="en-GB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344" name="Freeform 442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153025" y="1976438"/>
            <a:ext cx="114300" cy="101600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9"/>
              <a:gd name="T100" fmla="*/ 0 h 204"/>
              <a:gd name="T101" fmla="*/ 279 w 279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45" name="Freeform 443"/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4656138" y="1577975"/>
            <a:ext cx="195262" cy="141288"/>
          </a:xfrm>
          <a:custGeom>
            <a:avLst/>
            <a:gdLst>
              <a:gd name="T0" fmla="*/ 2147483647 w 485"/>
              <a:gd name="T1" fmla="*/ 2147483647 h 291"/>
              <a:gd name="T2" fmla="*/ 2147483647 w 485"/>
              <a:gd name="T3" fmla="*/ 2147483647 h 291"/>
              <a:gd name="T4" fmla="*/ 2147483647 w 485"/>
              <a:gd name="T5" fmla="*/ 2147483647 h 291"/>
              <a:gd name="T6" fmla="*/ 2147483647 w 485"/>
              <a:gd name="T7" fmla="*/ 2147483647 h 291"/>
              <a:gd name="T8" fmla="*/ 2147483647 w 485"/>
              <a:gd name="T9" fmla="*/ 2147483647 h 291"/>
              <a:gd name="T10" fmla="*/ 2147483647 w 485"/>
              <a:gd name="T11" fmla="*/ 2147483647 h 291"/>
              <a:gd name="T12" fmla="*/ 2147483647 w 485"/>
              <a:gd name="T13" fmla="*/ 2147483647 h 291"/>
              <a:gd name="T14" fmla="*/ 2147483647 w 485"/>
              <a:gd name="T15" fmla="*/ 2147483647 h 291"/>
              <a:gd name="T16" fmla="*/ 2147483647 w 485"/>
              <a:gd name="T17" fmla="*/ 2147483647 h 291"/>
              <a:gd name="T18" fmla="*/ 2147483647 w 485"/>
              <a:gd name="T19" fmla="*/ 2147483647 h 291"/>
              <a:gd name="T20" fmla="*/ 2147483647 w 485"/>
              <a:gd name="T21" fmla="*/ 2147483647 h 291"/>
              <a:gd name="T22" fmla="*/ 2147483647 w 485"/>
              <a:gd name="T23" fmla="*/ 2147483647 h 291"/>
              <a:gd name="T24" fmla="*/ 2147483647 w 485"/>
              <a:gd name="T25" fmla="*/ 2147483647 h 291"/>
              <a:gd name="T26" fmla="*/ 2147483647 w 485"/>
              <a:gd name="T27" fmla="*/ 2147483647 h 291"/>
              <a:gd name="T28" fmla="*/ 2147483647 w 485"/>
              <a:gd name="T29" fmla="*/ 2147483647 h 291"/>
              <a:gd name="T30" fmla="*/ 0 w 485"/>
              <a:gd name="T31" fmla="*/ 2147483647 h 291"/>
              <a:gd name="T32" fmla="*/ 2147483647 w 485"/>
              <a:gd name="T33" fmla="*/ 2147483647 h 291"/>
              <a:gd name="T34" fmla="*/ 2147483647 w 485"/>
              <a:gd name="T35" fmla="*/ 2147483647 h 291"/>
              <a:gd name="T36" fmla="*/ 2147483647 w 485"/>
              <a:gd name="T37" fmla="*/ 2147483647 h 291"/>
              <a:gd name="T38" fmla="*/ 2147483647 w 485"/>
              <a:gd name="T39" fmla="*/ 2147483647 h 291"/>
              <a:gd name="T40" fmla="*/ 2147483647 w 485"/>
              <a:gd name="T41" fmla="*/ 2147483647 h 291"/>
              <a:gd name="T42" fmla="*/ 2147483647 w 485"/>
              <a:gd name="T43" fmla="*/ 2147483647 h 291"/>
              <a:gd name="T44" fmla="*/ 2147483647 w 485"/>
              <a:gd name="T45" fmla="*/ 2147483647 h 291"/>
              <a:gd name="T46" fmla="*/ 2147483647 w 485"/>
              <a:gd name="T47" fmla="*/ 2147483647 h 291"/>
              <a:gd name="T48" fmla="*/ 2147483647 w 485"/>
              <a:gd name="T49" fmla="*/ 2147483647 h 291"/>
              <a:gd name="T50" fmla="*/ 2147483647 w 485"/>
              <a:gd name="T51" fmla="*/ 2147483647 h 291"/>
              <a:gd name="T52" fmla="*/ 2147483647 w 485"/>
              <a:gd name="T53" fmla="*/ 2147483647 h 291"/>
              <a:gd name="T54" fmla="*/ 2147483647 w 485"/>
              <a:gd name="T55" fmla="*/ 2147483647 h 291"/>
              <a:gd name="T56" fmla="*/ 2147483647 w 485"/>
              <a:gd name="T57" fmla="*/ 2147483647 h 291"/>
              <a:gd name="T58" fmla="*/ 2147483647 w 485"/>
              <a:gd name="T59" fmla="*/ 2147483647 h 291"/>
              <a:gd name="T60" fmla="*/ 2147483647 w 485"/>
              <a:gd name="T61" fmla="*/ 2147483647 h 291"/>
              <a:gd name="T62" fmla="*/ 2147483647 w 485"/>
              <a:gd name="T63" fmla="*/ 2147483647 h 291"/>
              <a:gd name="T64" fmla="*/ 2147483647 w 485"/>
              <a:gd name="T65" fmla="*/ 2147483647 h 291"/>
              <a:gd name="T66" fmla="*/ 2147483647 w 485"/>
              <a:gd name="T67" fmla="*/ 2147483647 h 291"/>
              <a:gd name="T68" fmla="*/ 2147483647 w 485"/>
              <a:gd name="T69" fmla="*/ 2147483647 h 291"/>
              <a:gd name="T70" fmla="*/ 2147483647 w 485"/>
              <a:gd name="T71" fmla="*/ 2147483647 h 291"/>
              <a:gd name="T72" fmla="*/ 2147483647 w 485"/>
              <a:gd name="T73" fmla="*/ 2147483647 h 291"/>
              <a:gd name="T74" fmla="*/ 2147483647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85"/>
              <a:gd name="T115" fmla="*/ 0 h 291"/>
              <a:gd name="T116" fmla="*/ 485 w 485"/>
              <a:gd name="T117" fmla="*/ 291 h 29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46" name="Freeform 444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4522788" y="1887538"/>
            <a:ext cx="76200" cy="80962"/>
          </a:xfrm>
          <a:custGeom>
            <a:avLst/>
            <a:gdLst>
              <a:gd name="T0" fmla="*/ 2147483647 w 186"/>
              <a:gd name="T1" fmla="*/ 2147483647 h 166"/>
              <a:gd name="T2" fmla="*/ 2147483647 w 186"/>
              <a:gd name="T3" fmla="*/ 2147483647 h 166"/>
              <a:gd name="T4" fmla="*/ 2147483647 w 186"/>
              <a:gd name="T5" fmla="*/ 2147483647 h 166"/>
              <a:gd name="T6" fmla="*/ 2147483647 w 186"/>
              <a:gd name="T7" fmla="*/ 2147483647 h 166"/>
              <a:gd name="T8" fmla="*/ 2147483647 w 186"/>
              <a:gd name="T9" fmla="*/ 2147483647 h 166"/>
              <a:gd name="T10" fmla="*/ 2147483647 w 186"/>
              <a:gd name="T11" fmla="*/ 2147483647 h 166"/>
              <a:gd name="T12" fmla="*/ 2147483647 w 186"/>
              <a:gd name="T13" fmla="*/ 2147483647 h 166"/>
              <a:gd name="T14" fmla="*/ 2147483647 w 186"/>
              <a:gd name="T15" fmla="*/ 2147483647 h 166"/>
              <a:gd name="T16" fmla="*/ 2147483647 w 186"/>
              <a:gd name="T17" fmla="*/ 2147483647 h 166"/>
              <a:gd name="T18" fmla="*/ 2147483647 w 186"/>
              <a:gd name="T19" fmla="*/ 2147483647 h 166"/>
              <a:gd name="T20" fmla="*/ 0 w 186"/>
              <a:gd name="T21" fmla="*/ 2147483647 h 166"/>
              <a:gd name="T22" fmla="*/ 0 w 186"/>
              <a:gd name="T23" fmla="*/ 0 h 166"/>
              <a:gd name="T24" fmla="*/ 2147483647 w 186"/>
              <a:gd name="T25" fmla="*/ 2147483647 h 166"/>
              <a:gd name="T26" fmla="*/ 2147483647 w 186"/>
              <a:gd name="T27" fmla="*/ 2147483647 h 166"/>
              <a:gd name="T28" fmla="*/ 2147483647 w 186"/>
              <a:gd name="T29" fmla="*/ 2147483647 h 166"/>
              <a:gd name="T30" fmla="*/ 2147483647 w 186"/>
              <a:gd name="T31" fmla="*/ 2147483647 h 166"/>
              <a:gd name="T32" fmla="*/ 2147483647 w 186"/>
              <a:gd name="T33" fmla="*/ 2147483647 h 166"/>
              <a:gd name="T34" fmla="*/ 2147483647 w 186"/>
              <a:gd name="T35" fmla="*/ 2147483647 h 166"/>
              <a:gd name="T36" fmla="*/ 2147483647 w 186"/>
              <a:gd name="T37" fmla="*/ 2147483647 h 166"/>
              <a:gd name="T38" fmla="*/ 2147483647 w 186"/>
              <a:gd name="T39" fmla="*/ 0 h 166"/>
              <a:gd name="T40" fmla="*/ 2147483647 w 186"/>
              <a:gd name="T41" fmla="*/ 2147483647 h 166"/>
              <a:gd name="T42" fmla="*/ 2147483647 w 186"/>
              <a:gd name="T43" fmla="*/ 2147483647 h 166"/>
              <a:gd name="T44" fmla="*/ 2147483647 w 186"/>
              <a:gd name="T45" fmla="*/ 2147483647 h 166"/>
              <a:gd name="T46" fmla="*/ 2147483647 w 186"/>
              <a:gd name="T47" fmla="*/ 2147483647 h 166"/>
              <a:gd name="T48" fmla="*/ 2147483647 w 186"/>
              <a:gd name="T49" fmla="*/ 2147483647 h 166"/>
              <a:gd name="T50" fmla="*/ 2147483647 w 186"/>
              <a:gd name="T51" fmla="*/ 2147483647 h 166"/>
              <a:gd name="T52" fmla="*/ 2147483647 w 186"/>
              <a:gd name="T53" fmla="*/ 2147483647 h 166"/>
              <a:gd name="T54" fmla="*/ 2147483647 w 186"/>
              <a:gd name="T55" fmla="*/ 2147483647 h 166"/>
              <a:gd name="T56" fmla="*/ 2147483647 w 186"/>
              <a:gd name="T57" fmla="*/ 2147483647 h 166"/>
              <a:gd name="T58" fmla="*/ 2147483647 w 186"/>
              <a:gd name="T59" fmla="*/ 2147483647 h 166"/>
              <a:gd name="T60" fmla="*/ 2147483647 w 186"/>
              <a:gd name="T61" fmla="*/ 214748364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6"/>
              <a:gd name="T94" fmla="*/ 0 h 166"/>
              <a:gd name="T95" fmla="*/ 186 w 186"/>
              <a:gd name="T96" fmla="*/ 166 h 16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5" name="Freeform 445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2998788" y="3227388"/>
            <a:ext cx="76200" cy="52387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48" name="Freeform 446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670425" y="1920875"/>
            <a:ext cx="123825" cy="90488"/>
          </a:xfrm>
          <a:custGeom>
            <a:avLst/>
            <a:gdLst>
              <a:gd name="T0" fmla="*/ 2147483647 w 311"/>
              <a:gd name="T1" fmla="*/ 2147483647 h 179"/>
              <a:gd name="T2" fmla="*/ 2147483647 w 311"/>
              <a:gd name="T3" fmla="*/ 2147483647 h 179"/>
              <a:gd name="T4" fmla="*/ 2147483647 w 311"/>
              <a:gd name="T5" fmla="*/ 2147483647 h 179"/>
              <a:gd name="T6" fmla="*/ 2147483647 w 311"/>
              <a:gd name="T7" fmla="*/ 2147483647 h 179"/>
              <a:gd name="T8" fmla="*/ 2147483647 w 311"/>
              <a:gd name="T9" fmla="*/ 0 h 179"/>
              <a:gd name="T10" fmla="*/ 2147483647 w 311"/>
              <a:gd name="T11" fmla="*/ 2147483647 h 179"/>
              <a:gd name="T12" fmla="*/ 2147483647 w 311"/>
              <a:gd name="T13" fmla="*/ 2147483647 h 179"/>
              <a:gd name="T14" fmla="*/ 2147483647 w 311"/>
              <a:gd name="T15" fmla="*/ 2147483647 h 179"/>
              <a:gd name="T16" fmla="*/ 2147483647 w 311"/>
              <a:gd name="T17" fmla="*/ 2147483647 h 179"/>
              <a:gd name="T18" fmla="*/ 2147483647 w 311"/>
              <a:gd name="T19" fmla="*/ 2147483647 h 179"/>
              <a:gd name="T20" fmla="*/ 2147483647 w 311"/>
              <a:gd name="T21" fmla="*/ 2147483647 h 179"/>
              <a:gd name="T22" fmla="*/ 2147483647 w 311"/>
              <a:gd name="T23" fmla="*/ 2147483647 h 179"/>
              <a:gd name="T24" fmla="*/ 2147483647 w 311"/>
              <a:gd name="T25" fmla="*/ 2147483647 h 179"/>
              <a:gd name="T26" fmla="*/ 2147483647 w 311"/>
              <a:gd name="T27" fmla="*/ 2147483647 h 179"/>
              <a:gd name="T28" fmla="*/ 2147483647 w 311"/>
              <a:gd name="T29" fmla="*/ 2147483647 h 179"/>
              <a:gd name="T30" fmla="*/ 2147483647 w 311"/>
              <a:gd name="T31" fmla="*/ 2147483647 h 179"/>
              <a:gd name="T32" fmla="*/ 2147483647 w 311"/>
              <a:gd name="T33" fmla="*/ 2147483647 h 179"/>
              <a:gd name="T34" fmla="*/ 2147483647 w 311"/>
              <a:gd name="T35" fmla="*/ 2147483647 h 179"/>
              <a:gd name="T36" fmla="*/ 2147483647 w 311"/>
              <a:gd name="T37" fmla="*/ 2147483647 h 179"/>
              <a:gd name="T38" fmla="*/ 2147483647 w 311"/>
              <a:gd name="T39" fmla="*/ 2147483647 h 179"/>
              <a:gd name="T40" fmla="*/ 2147483647 w 311"/>
              <a:gd name="T41" fmla="*/ 2147483647 h 179"/>
              <a:gd name="T42" fmla="*/ 2147483647 w 311"/>
              <a:gd name="T43" fmla="*/ 2147483647 h 179"/>
              <a:gd name="T44" fmla="*/ 2147483647 w 311"/>
              <a:gd name="T45" fmla="*/ 2147483647 h 179"/>
              <a:gd name="T46" fmla="*/ 2147483647 w 311"/>
              <a:gd name="T47" fmla="*/ 2147483647 h 179"/>
              <a:gd name="T48" fmla="*/ 2147483647 w 311"/>
              <a:gd name="T49" fmla="*/ 2147483647 h 179"/>
              <a:gd name="T50" fmla="*/ 2147483647 w 311"/>
              <a:gd name="T51" fmla="*/ 2147483647 h 179"/>
              <a:gd name="T52" fmla="*/ 2147483647 w 311"/>
              <a:gd name="T53" fmla="*/ 2147483647 h 179"/>
              <a:gd name="T54" fmla="*/ 2147483647 w 311"/>
              <a:gd name="T55" fmla="*/ 2147483647 h 179"/>
              <a:gd name="T56" fmla="*/ 2147483647 w 311"/>
              <a:gd name="T57" fmla="*/ 2147483647 h 179"/>
              <a:gd name="T58" fmla="*/ 2147483647 w 311"/>
              <a:gd name="T59" fmla="*/ 2147483647 h 179"/>
              <a:gd name="T60" fmla="*/ 2147483647 w 311"/>
              <a:gd name="T61" fmla="*/ 2147483647 h 179"/>
              <a:gd name="T62" fmla="*/ 2147483647 w 311"/>
              <a:gd name="T63" fmla="*/ 2147483647 h 179"/>
              <a:gd name="T64" fmla="*/ 2147483647 w 311"/>
              <a:gd name="T65" fmla="*/ 2147483647 h 179"/>
              <a:gd name="T66" fmla="*/ 2147483647 w 311"/>
              <a:gd name="T67" fmla="*/ 2147483647 h 179"/>
              <a:gd name="T68" fmla="*/ 2147483647 w 311"/>
              <a:gd name="T69" fmla="*/ 2147483647 h 179"/>
              <a:gd name="T70" fmla="*/ 2147483647 w 311"/>
              <a:gd name="T71" fmla="*/ 2147483647 h 179"/>
              <a:gd name="T72" fmla="*/ 2147483647 w 311"/>
              <a:gd name="T73" fmla="*/ 2147483647 h 179"/>
              <a:gd name="T74" fmla="*/ 0 w 311"/>
              <a:gd name="T75" fmla="*/ 2147483647 h 179"/>
              <a:gd name="T76" fmla="*/ 0 w 311"/>
              <a:gd name="T77" fmla="*/ 2147483647 h 179"/>
              <a:gd name="T78" fmla="*/ 2147483647 w 311"/>
              <a:gd name="T79" fmla="*/ 2147483647 h 179"/>
              <a:gd name="T80" fmla="*/ 2147483647 w 311"/>
              <a:gd name="T81" fmla="*/ 2147483647 h 179"/>
              <a:gd name="T82" fmla="*/ 2147483647 w 311"/>
              <a:gd name="T83" fmla="*/ 2147483647 h 179"/>
              <a:gd name="T84" fmla="*/ 2147483647 w 311"/>
              <a:gd name="T85" fmla="*/ 2147483647 h 179"/>
              <a:gd name="T86" fmla="*/ 2147483647 w 311"/>
              <a:gd name="T87" fmla="*/ 2147483647 h 179"/>
              <a:gd name="T88" fmla="*/ 2147483647 w 311"/>
              <a:gd name="T89" fmla="*/ 2147483647 h 179"/>
              <a:gd name="T90" fmla="*/ 2147483647 w 311"/>
              <a:gd name="T91" fmla="*/ 2147483647 h 179"/>
              <a:gd name="T92" fmla="*/ 2147483647 w 311"/>
              <a:gd name="T93" fmla="*/ 2147483647 h 179"/>
              <a:gd name="T94" fmla="*/ 2147483647 w 311"/>
              <a:gd name="T95" fmla="*/ 2147483647 h 179"/>
              <a:gd name="T96" fmla="*/ 2147483647 w 311"/>
              <a:gd name="T97" fmla="*/ 2147483647 h 179"/>
              <a:gd name="T98" fmla="*/ 2147483647 w 311"/>
              <a:gd name="T99" fmla="*/ 2147483647 h 179"/>
              <a:gd name="T100" fmla="*/ 0 w 311"/>
              <a:gd name="T101" fmla="*/ 2147483647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11"/>
              <a:gd name="T154" fmla="*/ 0 h 179"/>
              <a:gd name="T155" fmla="*/ 311 w 311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7" name="Freeform 447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070350" y="2784475"/>
            <a:ext cx="165100" cy="153988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78" name="Freeform 448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394200" y="2847975"/>
            <a:ext cx="179388" cy="325438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51" name="Freeform 449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6678613" y="2622550"/>
            <a:ext cx="50800" cy="53975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6"/>
              <a:gd name="T118" fmla="*/ 0 h 105"/>
              <a:gd name="T119" fmla="*/ 126 w 126"/>
              <a:gd name="T120" fmla="*/ 105 h 10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80" name="Freeform 450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2349500" y="2868613"/>
            <a:ext cx="277813" cy="488950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81" name="Freeform 451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4448175" y="3119438"/>
            <a:ext cx="174625" cy="255587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54" name="Freeform 452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4478338" y="1854200"/>
            <a:ext cx="117475" cy="106363"/>
          </a:xfrm>
          <a:custGeom>
            <a:avLst/>
            <a:gdLst>
              <a:gd name="T0" fmla="*/ 2147483647 w 292"/>
              <a:gd name="T1" fmla="*/ 2147483647 h 223"/>
              <a:gd name="T2" fmla="*/ 2147483647 w 292"/>
              <a:gd name="T3" fmla="*/ 2147483647 h 223"/>
              <a:gd name="T4" fmla="*/ 2147483647 w 292"/>
              <a:gd name="T5" fmla="*/ 2147483647 h 223"/>
              <a:gd name="T6" fmla="*/ 2147483647 w 292"/>
              <a:gd name="T7" fmla="*/ 2147483647 h 223"/>
              <a:gd name="T8" fmla="*/ 2147483647 w 292"/>
              <a:gd name="T9" fmla="*/ 2147483647 h 223"/>
              <a:gd name="T10" fmla="*/ 2147483647 w 292"/>
              <a:gd name="T11" fmla="*/ 2147483647 h 223"/>
              <a:gd name="T12" fmla="*/ 2147483647 w 292"/>
              <a:gd name="T13" fmla="*/ 2147483647 h 223"/>
              <a:gd name="T14" fmla="*/ 2147483647 w 292"/>
              <a:gd name="T15" fmla="*/ 2147483647 h 223"/>
              <a:gd name="T16" fmla="*/ 2147483647 w 292"/>
              <a:gd name="T17" fmla="*/ 2147483647 h 223"/>
              <a:gd name="T18" fmla="*/ 2147483647 w 292"/>
              <a:gd name="T19" fmla="*/ 2147483647 h 223"/>
              <a:gd name="T20" fmla="*/ 2147483647 w 292"/>
              <a:gd name="T21" fmla="*/ 2147483647 h 223"/>
              <a:gd name="T22" fmla="*/ 2147483647 w 292"/>
              <a:gd name="T23" fmla="*/ 2147483647 h 223"/>
              <a:gd name="T24" fmla="*/ 2147483647 w 292"/>
              <a:gd name="T25" fmla="*/ 2147483647 h 223"/>
              <a:gd name="T26" fmla="*/ 2147483647 w 292"/>
              <a:gd name="T27" fmla="*/ 2147483647 h 223"/>
              <a:gd name="T28" fmla="*/ 2147483647 w 292"/>
              <a:gd name="T29" fmla="*/ 2147483647 h 223"/>
              <a:gd name="T30" fmla="*/ 2147483647 w 292"/>
              <a:gd name="T31" fmla="*/ 2147483647 h 223"/>
              <a:gd name="T32" fmla="*/ 2147483647 w 292"/>
              <a:gd name="T33" fmla="*/ 2147483647 h 223"/>
              <a:gd name="T34" fmla="*/ 2147483647 w 292"/>
              <a:gd name="T35" fmla="*/ 2147483647 h 223"/>
              <a:gd name="T36" fmla="*/ 2147483647 w 292"/>
              <a:gd name="T37" fmla="*/ 2147483647 h 223"/>
              <a:gd name="T38" fmla="*/ 2147483647 w 292"/>
              <a:gd name="T39" fmla="*/ 2147483647 h 223"/>
              <a:gd name="T40" fmla="*/ 2147483647 w 292"/>
              <a:gd name="T41" fmla="*/ 2147483647 h 223"/>
              <a:gd name="T42" fmla="*/ 2147483647 w 292"/>
              <a:gd name="T43" fmla="*/ 2147483647 h 223"/>
              <a:gd name="T44" fmla="*/ 2147483647 w 292"/>
              <a:gd name="T45" fmla="*/ 2147483647 h 223"/>
              <a:gd name="T46" fmla="*/ 2147483647 w 292"/>
              <a:gd name="T47" fmla="*/ 2147483647 h 223"/>
              <a:gd name="T48" fmla="*/ 2147483647 w 292"/>
              <a:gd name="T49" fmla="*/ 2147483647 h 223"/>
              <a:gd name="T50" fmla="*/ 2147483647 w 292"/>
              <a:gd name="T51" fmla="*/ 2147483647 h 223"/>
              <a:gd name="T52" fmla="*/ 0 w 292"/>
              <a:gd name="T53" fmla="*/ 2147483647 h 223"/>
              <a:gd name="T54" fmla="*/ 2147483647 w 292"/>
              <a:gd name="T55" fmla="*/ 2147483647 h 223"/>
              <a:gd name="T56" fmla="*/ 2147483647 w 292"/>
              <a:gd name="T57" fmla="*/ 2147483647 h 223"/>
              <a:gd name="T58" fmla="*/ 2147483647 w 292"/>
              <a:gd name="T59" fmla="*/ 2147483647 h 223"/>
              <a:gd name="T60" fmla="*/ 2147483647 w 292"/>
              <a:gd name="T61" fmla="*/ 2147483647 h 223"/>
              <a:gd name="T62" fmla="*/ 2147483647 w 292"/>
              <a:gd name="T63" fmla="*/ 2147483647 h 223"/>
              <a:gd name="T64" fmla="*/ 2147483647 w 292"/>
              <a:gd name="T65" fmla="*/ 2147483647 h 223"/>
              <a:gd name="T66" fmla="*/ 2147483647 w 292"/>
              <a:gd name="T67" fmla="*/ 0 h 223"/>
              <a:gd name="T68" fmla="*/ 2147483647 w 292"/>
              <a:gd name="T69" fmla="*/ 2147483647 h 223"/>
              <a:gd name="T70" fmla="*/ 2147483647 w 292"/>
              <a:gd name="T71" fmla="*/ 2147483647 h 223"/>
              <a:gd name="T72" fmla="*/ 2147483647 w 292"/>
              <a:gd name="T73" fmla="*/ 2147483647 h 223"/>
              <a:gd name="T74" fmla="*/ 2147483647 w 292"/>
              <a:gd name="T75" fmla="*/ 2147483647 h 223"/>
              <a:gd name="T76" fmla="*/ 2147483647 w 292"/>
              <a:gd name="T77" fmla="*/ 2147483647 h 223"/>
              <a:gd name="T78" fmla="*/ 2147483647 w 292"/>
              <a:gd name="T79" fmla="*/ 2147483647 h 223"/>
              <a:gd name="T80" fmla="*/ 2147483647 w 292"/>
              <a:gd name="T81" fmla="*/ 2147483647 h 223"/>
              <a:gd name="T82" fmla="*/ 2147483647 w 292"/>
              <a:gd name="T83" fmla="*/ 2147483647 h 223"/>
              <a:gd name="T84" fmla="*/ 2147483647 w 292"/>
              <a:gd name="T85" fmla="*/ 214748364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2"/>
              <a:gd name="T130" fmla="*/ 0 h 223"/>
              <a:gd name="T131" fmla="*/ 292 w 292"/>
              <a:gd name="T132" fmla="*/ 223 h 2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5" name="Freeform 453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432300" y="1722438"/>
            <a:ext cx="157163" cy="73025"/>
          </a:xfrm>
          <a:custGeom>
            <a:avLst/>
            <a:gdLst>
              <a:gd name="T0" fmla="*/ 2147483647 w 379"/>
              <a:gd name="T1" fmla="*/ 2147483647 h 147"/>
              <a:gd name="T2" fmla="*/ 2147483647 w 379"/>
              <a:gd name="T3" fmla="*/ 2147483647 h 147"/>
              <a:gd name="T4" fmla="*/ 2147483647 w 379"/>
              <a:gd name="T5" fmla="*/ 2147483647 h 147"/>
              <a:gd name="T6" fmla="*/ 2147483647 w 379"/>
              <a:gd name="T7" fmla="*/ 2147483647 h 147"/>
              <a:gd name="T8" fmla="*/ 2147483647 w 379"/>
              <a:gd name="T9" fmla="*/ 2147483647 h 147"/>
              <a:gd name="T10" fmla="*/ 2147483647 w 379"/>
              <a:gd name="T11" fmla="*/ 2147483647 h 147"/>
              <a:gd name="T12" fmla="*/ 2147483647 w 379"/>
              <a:gd name="T13" fmla="*/ 2147483647 h 147"/>
              <a:gd name="T14" fmla="*/ 2147483647 w 379"/>
              <a:gd name="T15" fmla="*/ 2147483647 h 147"/>
              <a:gd name="T16" fmla="*/ 2147483647 w 379"/>
              <a:gd name="T17" fmla="*/ 2147483647 h 147"/>
              <a:gd name="T18" fmla="*/ 2147483647 w 379"/>
              <a:gd name="T19" fmla="*/ 2147483647 h 147"/>
              <a:gd name="T20" fmla="*/ 2147483647 w 379"/>
              <a:gd name="T21" fmla="*/ 2147483647 h 147"/>
              <a:gd name="T22" fmla="*/ 2147483647 w 379"/>
              <a:gd name="T23" fmla="*/ 2147483647 h 147"/>
              <a:gd name="T24" fmla="*/ 2147483647 w 379"/>
              <a:gd name="T25" fmla="*/ 2147483647 h 147"/>
              <a:gd name="T26" fmla="*/ 2147483647 w 379"/>
              <a:gd name="T27" fmla="*/ 2147483647 h 147"/>
              <a:gd name="T28" fmla="*/ 2147483647 w 379"/>
              <a:gd name="T29" fmla="*/ 2147483647 h 147"/>
              <a:gd name="T30" fmla="*/ 2147483647 w 379"/>
              <a:gd name="T31" fmla="*/ 2147483647 h 147"/>
              <a:gd name="T32" fmla="*/ 2147483647 w 379"/>
              <a:gd name="T33" fmla="*/ 2147483647 h 147"/>
              <a:gd name="T34" fmla="*/ 2147483647 w 379"/>
              <a:gd name="T35" fmla="*/ 2147483647 h 147"/>
              <a:gd name="T36" fmla="*/ 2147483647 w 379"/>
              <a:gd name="T37" fmla="*/ 2147483647 h 147"/>
              <a:gd name="T38" fmla="*/ 2147483647 w 379"/>
              <a:gd name="T39" fmla="*/ 2147483647 h 147"/>
              <a:gd name="T40" fmla="*/ 2147483647 w 379"/>
              <a:gd name="T41" fmla="*/ 2147483647 h 147"/>
              <a:gd name="T42" fmla="*/ 2147483647 w 379"/>
              <a:gd name="T43" fmla="*/ 2147483647 h 147"/>
              <a:gd name="T44" fmla="*/ 2147483647 w 379"/>
              <a:gd name="T45" fmla="*/ 2147483647 h 147"/>
              <a:gd name="T46" fmla="*/ 2147483647 w 379"/>
              <a:gd name="T47" fmla="*/ 2147483647 h 147"/>
              <a:gd name="T48" fmla="*/ 0 w 379"/>
              <a:gd name="T49" fmla="*/ 2147483647 h 147"/>
              <a:gd name="T50" fmla="*/ 2147483647 w 379"/>
              <a:gd name="T51" fmla="*/ 2147483647 h 147"/>
              <a:gd name="T52" fmla="*/ 2147483647 w 379"/>
              <a:gd name="T53" fmla="*/ 2147483647 h 147"/>
              <a:gd name="T54" fmla="*/ 2147483647 w 379"/>
              <a:gd name="T55" fmla="*/ 2147483647 h 147"/>
              <a:gd name="T56" fmla="*/ 2147483647 w 379"/>
              <a:gd name="T57" fmla="*/ 2147483647 h 147"/>
              <a:gd name="T58" fmla="*/ 2147483647 w 379"/>
              <a:gd name="T59" fmla="*/ 2147483647 h 147"/>
              <a:gd name="T60" fmla="*/ 2147483647 w 379"/>
              <a:gd name="T61" fmla="*/ 2147483647 h 147"/>
              <a:gd name="T62" fmla="*/ 2147483647 w 379"/>
              <a:gd name="T63" fmla="*/ 0 h 147"/>
              <a:gd name="T64" fmla="*/ 2147483647 w 379"/>
              <a:gd name="T65" fmla="*/ 2147483647 h 147"/>
              <a:gd name="T66" fmla="*/ 2147483647 w 379"/>
              <a:gd name="T67" fmla="*/ 2147483647 h 147"/>
              <a:gd name="T68" fmla="*/ 2147483647 w 379"/>
              <a:gd name="T69" fmla="*/ 2147483647 h 147"/>
              <a:gd name="T70" fmla="*/ 2147483647 w 379"/>
              <a:gd name="T71" fmla="*/ 2147483647 h 147"/>
              <a:gd name="T72" fmla="*/ 2147483647 w 379"/>
              <a:gd name="T73" fmla="*/ 2147483647 h 147"/>
              <a:gd name="T74" fmla="*/ 2147483647 w 379"/>
              <a:gd name="T75" fmla="*/ 2147483647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79"/>
              <a:gd name="T115" fmla="*/ 0 h 147"/>
              <a:gd name="T116" fmla="*/ 379 w 379"/>
              <a:gd name="T117" fmla="*/ 147 h 14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6" name="Freeform 454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97375" y="1587500"/>
            <a:ext cx="28575" cy="55563"/>
          </a:xfrm>
          <a:custGeom>
            <a:avLst/>
            <a:gdLst>
              <a:gd name="T0" fmla="*/ 0 w 61"/>
              <a:gd name="T1" fmla="*/ 0 h 67"/>
              <a:gd name="T2" fmla="*/ 0 w 61"/>
              <a:gd name="T3" fmla="*/ 2147483647 h 67"/>
              <a:gd name="T4" fmla="*/ 0 w 61"/>
              <a:gd name="T5" fmla="*/ 2147483647 h 67"/>
              <a:gd name="T6" fmla="*/ 2147483647 w 61"/>
              <a:gd name="T7" fmla="*/ 2147483647 h 67"/>
              <a:gd name="T8" fmla="*/ 2147483647 w 61"/>
              <a:gd name="T9" fmla="*/ 2147483647 h 67"/>
              <a:gd name="T10" fmla="*/ 2147483647 w 61"/>
              <a:gd name="T11" fmla="*/ 2147483647 h 67"/>
              <a:gd name="T12" fmla="*/ 2147483647 w 61"/>
              <a:gd name="T13" fmla="*/ 2147483647 h 67"/>
              <a:gd name="T14" fmla="*/ 2147483647 w 61"/>
              <a:gd name="T15" fmla="*/ 2147483647 h 67"/>
              <a:gd name="T16" fmla="*/ 2147483647 w 61"/>
              <a:gd name="T17" fmla="*/ 2147483647 h 67"/>
              <a:gd name="T18" fmla="*/ 2147483647 w 61"/>
              <a:gd name="T19" fmla="*/ 2147483647 h 67"/>
              <a:gd name="T20" fmla="*/ 2147483647 w 61"/>
              <a:gd name="T21" fmla="*/ 2147483647 h 67"/>
              <a:gd name="T22" fmla="*/ 2147483647 w 61"/>
              <a:gd name="T23" fmla="*/ 2147483647 h 67"/>
              <a:gd name="T24" fmla="*/ 2147483647 w 61"/>
              <a:gd name="T25" fmla="*/ 2147483647 h 67"/>
              <a:gd name="T26" fmla="*/ 2147483647 w 61"/>
              <a:gd name="T27" fmla="*/ 2147483647 h 67"/>
              <a:gd name="T28" fmla="*/ 2147483647 w 61"/>
              <a:gd name="T29" fmla="*/ 2147483647 h 67"/>
              <a:gd name="T30" fmla="*/ 2147483647 w 61"/>
              <a:gd name="T31" fmla="*/ 2147483647 h 67"/>
              <a:gd name="T32" fmla="*/ 2147483647 w 61"/>
              <a:gd name="T33" fmla="*/ 2147483647 h 67"/>
              <a:gd name="T34" fmla="*/ 2147483647 w 61"/>
              <a:gd name="T35" fmla="*/ 2147483647 h 67"/>
              <a:gd name="T36" fmla="*/ 2147483647 w 61"/>
              <a:gd name="T37" fmla="*/ 0 h 67"/>
              <a:gd name="T38" fmla="*/ 2147483647 w 61"/>
              <a:gd name="T39" fmla="*/ 2147483647 h 67"/>
              <a:gd name="T40" fmla="*/ 2147483647 w 61"/>
              <a:gd name="T41" fmla="*/ 2147483647 h 67"/>
              <a:gd name="T42" fmla="*/ 2147483647 w 61"/>
              <a:gd name="T43" fmla="*/ 2147483647 h 67"/>
              <a:gd name="T44" fmla="*/ 2147483647 w 61"/>
              <a:gd name="T45" fmla="*/ 2147483647 h 67"/>
              <a:gd name="T46" fmla="*/ 2147483647 w 61"/>
              <a:gd name="T47" fmla="*/ 2147483647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1"/>
              <a:gd name="T76" fmla="*/ 0 h 67"/>
              <a:gd name="T77" fmla="*/ 61 w 61"/>
              <a:gd name="T78" fmla="*/ 67 h 6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57" name="Freeform 455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371975" y="1592263"/>
            <a:ext cx="23813" cy="53975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0"/>
              <a:gd name="T67" fmla="*/ 0 h 55"/>
              <a:gd name="T68" fmla="*/ 60 w 60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358" name="Freeform 456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343400" y="1541463"/>
            <a:ext cx="49213" cy="73025"/>
          </a:xfrm>
          <a:custGeom>
            <a:avLst/>
            <a:gdLst>
              <a:gd name="T0" fmla="*/ 2147483647 w 120"/>
              <a:gd name="T1" fmla="*/ 2147483647 h 148"/>
              <a:gd name="T2" fmla="*/ 2147483647 w 120"/>
              <a:gd name="T3" fmla="*/ 2147483647 h 148"/>
              <a:gd name="T4" fmla="*/ 2147483647 w 120"/>
              <a:gd name="T5" fmla="*/ 2147483647 h 148"/>
              <a:gd name="T6" fmla="*/ 2147483647 w 120"/>
              <a:gd name="T7" fmla="*/ 2147483647 h 148"/>
              <a:gd name="T8" fmla="*/ 2147483647 w 120"/>
              <a:gd name="T9" fmla="*/ 2147483647 h 148"/>
              <a:gd name="T10" fmla="*/ 2147483647 w 120"/>
              <a:gd name="T11" fmla="*/ 2147483647 h 148"/>
              <a:gd name="T12" fmla="*/ 2147483647 w 120"/>
              <a:gd name="T13" fmla="*/ 2147483647 h 148"/>
              <a:gd name="T14" fmla="*/ 2147483647 w 120"/>
              <a:gd name="T15" fmla="*/ 2147483647 h 148"/>
              <a:gd name="T16" fmla="*/ 2147483647 w 120"/>
              <a:gd name="T17" fmla="*/ 2147483647 h 148"/>
              <a:gd name="T18" fmla="*/ 2147483647 w 120"/>
              <a:gd name="T19" fmla="*/ 2147483647 h 148"/>
              <a:gd name="T20" fmla="*/ 2147483647 w 120"/>
              <a:gd name="T21" fmla="*/ 2147483647 h 148"/>
              <a:gd name="T22" fmla="*/ 2147483647 w 120"/>
              <a:gd name="T23" fmla="*/ 2147483647 h 148"/>
              <a:gd name="T24" fmla="*/ 2147483647 w 120"/>
              <a:gd name="T25" fmla="*/ 2147483647 h 148"/>
              <a:gd name="T26" fmla="*/ 2147483647 w 120"/>
              <a:gd name="T27" fmla="*/ 2147483647 h 148"/>
              <a:gd name="T28" fmla="*/ 2147483647 w 120"/>
              <a:gd name="T29" fmla="*/ 2147483647 h 148"/>
              <a:gd name="T30" fmla="*/ 2147483647 w 120"/>
              <a:gd name="T31" fmla="*/ 2147483647 h 148"/>
              <a:gd name="T32" fmla="*/ 2147483647 w 120"/>
              <a:gd name="T33" fmla="*/ 2147483647 h 148"/>
              <a:gd name="T34" fmla="*/ 2147483647 w 120"/>
              <a:gd name="T35" fmla="*/ 2147483647 h 148"/>
              <a:gd name="T36" fmla="*/ 0 w 120"/>
              <a:gd name="T37" fmla="*/ 2147483647 h 148"/>
              <a:gd name="T38" fmla="*/ 2147483647 w 120"/>
              <a:gd name="T39" fmla="*/ 2147483647 h 148"/>
              <a:gd name="T40" fmla="*/ 2147483647 w 120"/>
              <a:gd name="T41" fmla="*/ 2147483647 h 148"/>
              <a:gd name="T42" fmla="*/ 2147483647 w 120"/>
              <a:gd name="T43" fmla="*/ 2147483647 h 148"/>
              <a:gd name="T44" fmla="*/ 2147483647 w 120"/>
              <a:gd name="T45" fmla="*/ 2147483647 h 148"/>
              <a:gd name="T46" fmla="*/ 2147483647 w 120"/>
              <a:gd name="T47" fmla="*/ 2147483647 h 148"/>
              <a:gd name="T48" fmla="*/ 2147483647 w 120"/>
              <a:gd name="T49" fmla="*/ 2147483647 h 148"/>
              <a:gd name="T50" fmla="*/ 2147483647 w 120"/>
              <a:gd name="T51" fmla="*/ 2147483647 h 148"/>
              <a:gd name="T52" fmla="*/ 2147483647 w 120"/>
              <a:gd name="T53" fmla="*/ 2147483647 h 148"/>
              <a:gd name="T54" fmla="*/ 2147483647 w 120"/>
              <a:gd name="T55" fmla="*/ 2147483647 h 148"/>
              <a:gd name="T56" fmla="*/ 2147483647 w 120"/>
              <a:gd name="T57" fmla="*/ 0 h 148"/>
              <a:gd name="T58" fmla="*/ 2147483647 w 120"/>
              <a:gd name="T59" fmla="*/ 2147483647 h 148"/>
              <a:gd name="T60" fmla="*/ 2147483647 w 120"/>
              <a:gd name="T61" fmla="*/ 2147483647 h 148"/>
              <a:gd name="T62" fmla="*/ 2147483647 w 120"/>
              <a:gd name="T63" fmla="*/ 2147483647 h 148"/>
              <a:gd name="T64" fmla="*/ 2147483647 w 120"/>
              <a:gd name="T65" fmla="*/ 2147483647 h 148"/>
              <a:gd name="T66" fmla="*/ 2147483647 w 120"/>
              <a:gd name="T67" fmla="*/ 2147483647 h 148"/>
              <a:gd name="T68" fmla="*/ 2147483647 w 120"/>
              <a:gd name="T69" fmla="*/ 2147483647 h 148"/>
              <a:gd name="T70" fmla="*/ 2147483647 w 120"/>
              <a:gd name="T71" fmla="*/ 2147483647 h 148"/>
              <a:gd name="T72" fmla="*/ 2147483647 w 120"/>
              <a:gd name="T73" fmla="*/ 2147483647 h 148"/>
              <a:gd name="T74" fmla="*/ 2147483647 w 120"/>
              <a:gd name="T75" fmla="*/ 2147483647 h 148"/>
              <a:gd name="T76" fmla="*/ 2147483647 w 120"/>
              <a:gd name="T77" fmla="*/ 2147483647 h 148"/>
              <a:gd name="T78" fmla="*/ 2147483647 w 120"/>
              <a:gd name="T79" fmla="*/ 2147483647 h 148"/>
              <a:gd name="T80" fmla="*/ 2147483647 w 120"/>
              <a:gd name="T81" fmla="*/ 2147483647 h 148"/>
              <a:gd name="T82" fmla="*/ 2147483647 w 120"/>
              <a:gd name="T83" fmla="*/ 2147483647 h 148"/>
              <a:gd name="T84" fmla="*/ 2147483647 w 120"/>
              <a:gd name="T85" fmla="*/ 2147483647 h 148"/>
              <a:gd name="T86" fmla="*/ 2147483647 w 120"/>
              <a:gd name="T87" fmla="*/ 2147483647 h 148"/>
              <a:gd name="T88" fmla="*/ 2147483647 w 120"/>
              <a:gd name="T89" fmla="*/ 2147483647 h 148"/>
              <a:gd name="T90" fmla="*/ 2147483647 w 120"/>
              <a:gd name="T91" fmla="*/ 2147483647 h 148"/>
              <a:gd name="T92" fmla="*/ 2147483647 w 120"/>
              <a:gd name="T93" fmla="*/ 2147483647 h 148"/>
              <a:gd name="T94" fmla="*/ 2147483647 w 120"/>
              <a:gd name="T95" fmla="*/ 2147483647 h 148"/>
              <a:gd name="T96" fmla="*/ 2147483647 w 120"/>
              <a:gd name="T97" fmla="*/ 2147483647 h 148"/>
              <a:gd name="T98" fmla="*/ 2147483647 w 120"/>
              <a:gd name="T99" fmla="*/ 2147483647 h 148"/>
              <a:gd name="T100" fmla="*/ 2147483647 w 120"/>
              <a:gd name="T101" fmla="*/ 2147483647 h 148"/>
              <a:gd name="T102" fmla="*/ 2147483647 w 120"/>
              <a:gd name="T103" fmla="*/ 2147483647 h 148"/>
              <a:gd name="T104" fmla="*/ 2147483647 w 120"/>
              <a:gd name="T105" fmla="*/ 2147483647 h 148"/>
              <a:gd name="T106" fmla="*/ 2147483647 w 120"/>
              <a:gd name="T107" fmla="*/ 2147483647 h 148"/>
              <a:gd name="T108" fmla="*/ 2147483647 w 120"/>
              <a:gd name="T109" fmla="*/ 2147483647 h 148"/>
              <a:gd name="T110" fmla="*/ 2147483647 w 120"/>
              <a:gd name="T111" fmla="*/ 2147483647 h 148"/>
              <a:gd name="T112" fmla="*/ 2147483647 w 120"/>
              <a:gd name="T113" fmla="*/ 2147483647 h 148"/>
              <a:gd name="T114" fmla="*/ 2147483647 w 120"/>
              <a:gd name="T115" fmla="*/ 2147483647 h 148"/>
              <a:gd name="T116" fmla="*/ 2147483647 w 120"/>
              <a:gd name="T117" fmla="*/ 2147483647 h 148"/>
              <a:gd name="T118" fmla="*/ 2147483647 w 120"/>
              <a:gd name="T119" fmla="*/ 2147483647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"/>
              <a:gd name="T181" fmla="*/ 0 h 148"/>
              <a:gd name="T182" fmla="*/ 120 w 120"/>
              <a:gd name="T183" fmla="*/ 148 h 14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7" name="Freeform 457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745038" y="2292350"/>
            <a:ext cx="255587" cy="285750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60" name="Freeform 458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368800" y="1951038"/>
            <a:ext cx="15875" cy="53975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0"/>
              <a:gd name="T82" fmla="*/ 0 h 93"/>
              <a:gd name="T83" fmla="*/ 40 w 40"/>
              <a:gd name="T84" fmla="*/ 93 h 9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1" name="Freeform 459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095750" y="1719263"/>
            <a:ext cx="274638" cy="254000"/>
          </a:xfrm>
          <a:custGeom>
            <a:avLst/>
            <a:gdLst>
              <a:gd name="T0" fmla="*/ 2147483647 w 664"/>
              <a:gd name="T1" fmla="*/ 2147483647 h 518"/>
              <a:gd name="T2" fmla="*/ 2147483647 w 664"/>
              <a:gd name="T3" fmla="*/ 2147483647 h 518"/>
              <a:gd name="T4" fmla="*/ 2147483647 w 664"/>
              <a:gd name="T5" fmla="*/ 2147483647 h 518"/>
              <a:gd name="T6" fmla="*/ 2147483647 w 664"/>
              <a:gd name="T7" fmla="*/ 2147483647 h 518"/>
              <a:gd name="T8" fmla="*/ 2147483647 w 664"/>
              <a:gd name="T9" fmla="*/ 2147483647 h 518"/>
              <a:gd name="T10" fmla="*/ 2147483647 w 664"/>
              <a:gd name="T11" fmla="*/ 2147483647 h 518"/>
              <a:gd name="T12" fmla="*/ 2147483647 w 664"/>
              <a:gd name="T13" fmla="*/ 2147483647 h 518"/>
              <a:gd name="T14" fmla="*/ 2147483647 w 664"/>
              <a:gd name="T15" fmla="*/ 2147483647 h 518"/>
              <a:gd name="T16" fmla="*/ 2147483647 w 664"/>
              <a:gd name="T17" fmla="*/ 2147483647 h 518"/>
              <a:gd name="T18" fmla="*/ 2147483647 w 664"/>
              <a:gd name="T19" fmla="*/ 2147483647 h 518"/>
              <a:gd name="T20" fmla="*/ 2147483647 w 664"/>
              <a:gd name="T21" fmla="*/ 2147483647 h 518"/>
              <a:gd name="T22" fmla="*/ 2147483647 w 664"/>
              <a:gd name="T23" fmla="*/ 2147483647 h 518"/>
              <a:gd name="T24" fmla="*/ 2147483647 w 664"/>
              <a:gd name="T25" fmla="*/ 2147483647 h 518"/>
              <a:gd name="T26" fmla="*/ 2147483647 w 664"/>
              <a:gd name="T27" fmla="*/ 2147483647 h 518"/>
              <a:gd name="T28" fmla="*/ 2147483647 w 664"/>
              <a:gd name="T29" fmla="*/ 2147483647 h 518"/>
              <a:gd name="T30" fmla="*/ 2147483647 w 664"/>
              <a:gd name="T31" fmla="*/ 2147483647 h 518"/>
              <a:gd name="T32" fmla="*/ 2147483647 w 664"/>
              <a:gd name="T33" fmla="*/ 2147483647 h 518"/>
              <a:gd name="T34" fmla="*/ 2147483647 w 664"/>
              <a:gd name="T35" fmla="*/ 2147483647 h 518"/>
              <a:gd name="T36" fmla="*/ 2147483647 w 664"/>
              <a:gd name="T37" fmla="*/ 2147483647 h 518"/>
              <a:gd name="T38" fmla="*/ 2147483647 w 664"/>
              <a:gd name="T39" fmla="*/ 2147483647 h 518"/>
              <a:gd name="T40" fmla="*/ 2147483647 w 664"/>
              <a:gd name="T41" fmla="*/ 2147483647 h 518"/>
              <a:gd name="T42" fmla="*/ 2147483647 w 664"/>
              <a:gd name="T43" fmla="*/ 2147483647 h 518"/>
              <a:gd name="T44" fmla="*/ 2147483647 w 664"/>
              <a:gd name="T45" fmla="*/ 2147483647 h 518"/>
              <a:gd name="T46" fmla="*/ 2147483647 w 664"/>
              <a:gd name="T47" fmla="*/ 2147483647 h 518"/>
              <a:gd name="T48" fmla="*/ 2147483647 w 664"/>
              <a:gd name="T49" fmla="*/ 2147483647 h 518"/>
              <a:gd name="T50" fmla="*/ 2147483647 w 664"/>
              <a:gd name="T51" fmla="*/ 2147483647 h 518"/>
              <a:gd name="T52" fmla="*/ 2147483647 w 664"/>
              <a:gd name="T53" fmla="*/ 2147483647 h 518"/>
              <a:gd name="T54" fmla="*/ 2147483647 w 664"/>
              <a:gd name="T55" fmla="*/ 2147483647 h 518"/>
              <a:gd name="T56" fmla="*/ 2147483647 w 664"/>
              <a:gd name="T57" fmla="*/ 2147483647 h 518"/>
              <a:gd name="T58" fmla="*/ 2147483647 w 664"/>
              <a:gd name="T59" fmla="*/ 2147483647 h 518"/>
              <a:gd name="T60" fmla="*/ 2147483647 w 664"/>
              <a:gd name="T61" fmla="*/ 2147483647 h 518"/>
              <a:gd name="T62" fmla="*/ 2147483647 w 664"/>
              <a:gd name="T63" fmla="*/ 2147483647 h 518"/>
              <a:gd name="T64" fmla="*/ 2147483647 w 664"/>
              <a:gd name="T65" fmla="*/ 2147483647 h 518"/>
              <a:gd name="T66" fmla="*/ 2147483647 w 664"/>
              <a:gd name="T67" fmla="*/ 2147483647 h 518"/>
              <a:gd name="T68" fmla="*/ 2147483647 w 664"/>
              <a:gd name="T69" fmla="*/ 2147483647 h 518"/>
              <a:gd name="T70" fmla="*/ 2147483647 w 664"/>
              <a:gd name="T71" fmla="*/ 2147483647 h 518"/>
              <a:gd name="T72" fmla="*/ 2147483647 w 664"/>
              <a:gd name="T73" fmla="*/ 2147483647 h 518"/>
              <a:gd name="T74" fmla="*/ 2147483647 w 664"/>
              <a:gd name="T75" fmla="*/ 2147483647 h 518"/>
              <a:gd name="T76" fmla="*/ 2147483647 w 664"/>
              <a:gd name="T77" fmla="*/ 2147483647 h 518"/>
              <a:gd name="T78" fmla="*/ 2147483647 w 664"/>
              <a:gd name="T79" fmla="*/ 2147483647 h 518"/>
              <a:gd name="T80" fmla="*/ 2147483647 w 664"/>
              <a:gd name="T81" fmla="*/ 2147483647 h 518"/>
              <a:gd name="T82" fmla="*/ 2147483647 w 664"/>
              <a:gd name="T83" fmla="*/ 2147483647 h 518"/>
              <a:gd name="T84" fmla="*/ 2147483647 w 664"/>
              <a:gd name="T85" fmla="*/ 2147483647 h 518"/>
              <a:gd name="T86" fmla="*/ 2147483647 w 664"/>
              <a:gd name="T87" fmla="*/ 2147483647 h 518"/>
              <a:gd name="T88" fmla="*/ 2147483647 w 664"/>
              <a:gd name="T89" fmla="*/ 2147483647 h 518"/>
              <a:gd name="T90" fmla="*/ 2147483647 w 664"/>
              <a:gd name="T91" fmla="*/ 2147483647 h 518"/>
              <a:gd name="T92" fmla="*/ 2147483647 w 664"/>
              <a:gd name="T93" fmla="*/ 2147483647 h 518"/>
              <a:gd name="T94" fmla="*/ 2147483647 w 664"/>
              <a:gd name="T95" fmla="*/ 2147483647 h 518"/>
              <a:gd name="T96" fmla="*/ 2147483647 w 664"/>
              <a:gd name="T97" fmla="*/ 2147483647 h 518"/>
              <a:gd name="T98" fmla="*/ 2147483647 w 664"/>
              <a:gd name="T99" fmla="*/ 2147483647 h 518"/>
              <a:gd name="T100" fmla="*/ 2147483647 w 664"/>
              <a:gd name="T101" fmla="*/ 2147483647 h 518"/>
              <a:gd name="T102" fmla="*/ 2147483647 w 664"/>
              <a:gd name="T103" fmla="*/ 2147483647 h 518"/>
              <a:gd name="T104" fmla="*/ 2147483647 w 664"/>
              <a:gd name="T105" fmla="*/ 2147483647 h 518"/>
              <a:gd name="T106" fmla="*/ 2147483647 w 664"/>
              <a:gd name="T107" fmla="*/ 2147483647 h 518"/>
              <a:gd name="T108" fmla="*/ 2147483647 w 664"/>
              <a:gd name="T109" fmla="*/ 2147483647 h 518"/>
              <a:gd name="T110" fmla="*/ 2147483647 w 664"/>
              <a:gd name="T111" fmla="*/ 2147483647 h 518"/>
              <a:gd name="T112" fmla="*/ 2147483647 w 664"/>
              <a:gd name="T113" fmla="*/ 2147483647 h 518"/>
              <a:gd name="T114" fmla="*/ 2147483647 w 664"/>
              <a:gd name="T115" fmla="*/ 2147483647 h 518"/>
              <a:gd name="T116" fmla="*/ 2147483647 w 664"/>
              <a:gd name="T117" fmla="*/ 2147483647 h 518"/>
              <a:gd name="T118" fmla="*/ 2147483647 w 664"/>
              <a:gd name="T119" fmla="*/ 2147483647 h 518"/>
              <a:gd name="T120" fmla="*/ 2147483647 w 664"/>
              <a:gd name="T121" fmla="*/ 2147483647 h 518"/>
              <a:gd name="T122" fmla="*/ 2147483647 w 664"/>
              <a:gd name="T123" fmla="*/ 2147483647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64"/>
              <a:gd name="T187" fmla="*/ 0 h 518"/>
              <a:gd name="T188" fmla="*/ 664 w 664"/>
              <a:gd name="T189" fmla="*/ 518 h 51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2" name="Freeform 460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040313" y="1938338"/>
            <a:ext cx="139700" cy="76200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52"/>
              <a:gd name="T115" fmla="*/ 0 h 153"/>
              <a:gd name="T116" fmla="*/ 352 w 352"/>
              <a:gd name="T117" fmla="*/ 153 h 15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63" name="Freeform 461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619625" y="1993900"/>
            <a:ext cx="138113" cy="161925"/>
          </a:xfrm>
          <a:custGeom>
            <a:avLst/>
            <a:gdLst>
              <a:gd name="T0" fmla="*/ 2147483647 w 331"/>
              <a:gd name="T1" fmla="*/ 2147483647 h 327"/>
              <a:gd name="T2" fmla="*/ 2147483647 w 331"/>
              <a:gd name="T3" fmla="*/ 2147483647 h 327"/>
              <a:gd name="T4" fmla="*/ 2147483647 w 331"/>
              <a:gd name="T5" fmla="*/ 2147483647 h 327"/>
              <a:gd name="T6" fmla="*/ 2147483647 w 331"/>
              <a:gd name="T7" fmla="*/ 2147483647 h 327"/>
              <a:gd name="T8" fmla="*/ 2147483647 w 331"/>
              <a:gd name="T9" fmla="*/ 2147483647 h 327"/>
              <a:gd name="T10" fmla="*/ 2147483647 w 331"/>
              <a:gd name="T11" fmla="*/ 2147483647 h 327"/>
              <a:gd name="T12" fmla="*/ 2147483647 w 331"/>
              <a:gd name="T13" fmla="*/ 2147483647 h 327"/>
              <a:gd name="T14" fmla="*/ 2147483647 w 331"/>
              <a:gd name="T15" fmla="*/ 2147483647 h 327"/>
              <a:gd name="T16" fmla="*/ 2147483647 w 331"/>
              <a:gd name="T17" fmla="*/ 2147483647 h 327"/>
              <a:gd name="T18" fmla="*/ 2147483647 w 331"/>
              <a:gd name="T19" fmla="*/ 2147483647 h 327"/>
              <a:gd name="T20" fmla="*/ 2147483647 w 331"/>
              <a:gd name="T21" fmla="*/ 2147483647 h 327"/>
              <a:gd name="T22" fmla="*/ 2147483647 w 331"/>
              <a:gd name="T23" fmla="*/ 2147483647 h 327"/>
              <a:gd name="T24" fmla="*/ 2147483647 w 331"/>
              <a:gd name="T25" fmla="*/ 2147483647 h 327"/>
              <a:gd name="T26" fmla="*/ 2147483647 w 331"/>
              <a:gd name="T27" fmla="*/ 2147483647 h 327"/>
              <a:gd name="T28" fmla="*/ 2147483647 w 331"/>
              <a:gd name="T29" fmla="*/ 2147483647 h 327"/>
              <a:gd name="T30" fmla="*/ 2147483647 w 331"/>
              <a:gd name="T31" fmla="*/ 2147483647 h 327"/>
              <a:gd name="T32" fmla="*/ 2147483647 w 331"/>
              <a:gd name="T33" fmla="*/ 2147483647 h 327"/>
              <a:gd name="T34" fmla="*/ 2147483647 w 331"/>
              <a:gd name="T35" fmla="*/ 2147483647 h 327"/>
              <a:gd name="T36" fmla="*/ 2147483647 w 331"/>
              <a:gd name="T37" fmla="*/ 2147483647 h 327"/>
              <a:gd name="T38" fmla="*/ 2147483647 w 331"/>
              <a:gd name="T39" fmla="*/ 2147483647 h 327"/>
              <a:gd name="T40" fmla="*/ 2147483647 w 331"/>
              <a:gd name="T41" fmla="*/ 2147483647 h 327"/>
              <a:gd name="T42" fmla="*/ 2147483647 w 331"/>
              <a:gd name="T43" fmla="*/ 2147483647 h 327"/>
              <a:gd name="T44" fmla="*/ 2147483647 w 331"/>
              <a:gd name="T45" fmla="*/ 2147483647 h 327"/>
              <a:gd name="T46" fmla="*/ 2147483647 w 331"/>
              <a:gd name="T47" fmla="*/ 2147483647 h 327"/>
              <a:gd name="T48" fmla="*/ 2147483647 w 331"/>
              <a:gd name="T49" fmla="*/ 2147483647 h 327"/>
              <a:gd name="T50" fmla="*/ 2147483647 w 331"/>
              <a:gd name="T51" fmla="*/ 2147483647 h 327"/>
              <a:gd name="T52" fmla="*/ 2147483647 w 331"/>
              <a:gd name="T53" fmla="*/ 2147483647 h 327"/>
              <a:gd name="T54" fmla="*/ 2147483647 w 331"/>
              <a:gd name="T55" fmla="*/ 2147483647 h 327"/>
              <a:gd name="T56" fmla="*/ 2147483647 w 331"/>
              <a:gd name="T57" fmla="*/ 2147483647 h 327"/>
              <a:gd name="T58" fmla="*/ 2147483647 w 331"/>
              <a:gd name="T59" fmla="*/ 2147483647 h 327"/>
              <a:gd name="T60" fmla="*/ 2147483647 w 331"/>
              <a:gd name="T61" fmla="*/ 2147483647 h 327"/>
              <a:gd name="T62" fmla="*/ 2147483647 w 331"/>
              <a:gd name="T63" fmla="*/ 2147483647 h 327"/>
              <a:gd name="T64" fmla="*/ 2147483647 w 331"/>
              <a:gd name="T65" fmla="*/ 2147483647 h 327"/>
              <a:gd name="T66" fmla="*/ 2147483647 w 331"/>
              <a:gd name="T67" fmla="*/ 2147483647 h 327"/>
              <a:gd name="T68" fmla="*/ 2147483647 w 331"/>
              <a:gd name="T69" fmla="*/ 2147483647 h 327"/>
              <a:gd name="T70" fmla="*/ 0 w 331"/>
              <a:gd name="T71" fmla="*/ 2147483647 h 327"/>
              <a:gd name="T72" fmla="*/ 2147483647 w 331"/>
              <a:gd name="T73" fmla="*/ 2147483647 h 327"/>
              <a:gd name="T74" fmla="*/ 2147483647 w 331"/>
              <a:gd name="T75" fmla="*/ 2147483647 h 327"/>
              <a:gd name="T76" fmla="*/ 2147483647 w 331"/>
              <a:gd name="T77" fmla="*/ 2147483647 h 327"/>
              <a:gd name="T78" fmla="*/ 2147483647 w 331"/>
              <a:gd name="T79" fmla="*/ 2147483647 h 327"/>
              <a:gd name="T80" fmla="*/ 2147483647 w 331"/>
              <a:gd name="T81" fmla="*/ 2147483647 h 327"/>
              <a:gd name="T82" fmla="*/ 2147483647 w 331"/>
              <a:gd name="T83" fmla="*/ 2147483647 h 327"/>
              <a:gd name="T84" fmla="*/ 2147483647 w 331"/>
              <a:gd name="T85" fmla="*/ 2147483647 h 327"/>
              <a:gd name="T86" fmla="*/ 2147483647 w 331"/>
              <a:gd name="T87" fmla="*/ 2147483647 h 327"/>
              <a:gd name="T88" fmla="*/ 2147483647 w 331"/>
              <a:gd name="T89" fmla="*/ 2147483647 h 327"/>
              <a:gd name="T90" fmla="*/ 2147483647 w 331"/>
              <a:gd name="T91" fmla="*/ 2147483647 h 327"/>
              <a:gd name="T92" fmla="*/ 2147483647 w 331"/>
              <a:gd name="T93" fmla="*/ 2147483647 h 327"/>
              <a:gd name="T94" fmla="*/ 2147483647 w 331"/>
              <a:gd name="T95" fmla="*/ 2147483647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31"/>
              <a:gd name="T145" fmla="*/ 0 h 327"/>
              <a:gd name="T146" fmla="*/ 331 w 331"/>
              <a:gd name="T147" fmla="*/ 327 h 3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92" name="Freeform 462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699000" y="2173288"/>
            <a:ext cx="65088" cy="53975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93" name="Freeform 463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3840163" y="2855913"/>
            <a:ext cx="174625" cy="147637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66" name="Freeform 464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5745163" y="2168525"/>
            <a:ext cx="646112" cy="815975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94"/>
              <a:gd name="T172" fmla="*/ 0 h 1670"/>
              <a:gd name="T173" fmla="*/ 1594 w 1594"/>
              <a:gd name="T174" fmla="*/ 1670 h 16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95" name="Freeform 465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995738" y="2909888"/>
            <a:ext cx="147637" cy="192087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96" name="Freeform 466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4991100" y="3092450"/>
            <a:ext cx="179388" cy="25241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97" name="Freeform 467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975225" y="2239963"/>
            <a:ext cx="95250" cy="120650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498" name="Freeform 468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253038" y="2336800"/>
            <a:ext cx="20637" cy="50800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71" name="Freeform 469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589463" y="1530350"/>
            <a:ext cx="150812" cy="61913"/>
          </a:xfrm>
          <a:custGeom>
            <a:avLst/>
            <a:gdLst>
              <a:gd name="T0" fmla="*/ 2147483647 w 370"/>
              <a:gd name="T1" fmla="*/ 2147483647 h 129"/>
              <a:gd name="T2" fmla="*/ 2147483647 w 370"/>
              <a:gd name="T3" fmla="*/ 2147483647 h 129"/>
              <a:gd name="T4" fmla="*/ 2147483647 w 370"/>
              <a:gd name="T5" fmla="*/ 2147483647 h 129"/>
              <a:gd name="T6" fmla="*/ 2147483647 w 370"/>
              <a:gd name="T7" fmla="*/ 2147483647 h 129"/>
              <a:gd name="T8" fmla="*/ 2147483647 w 370"/>
              <a:gd name="T9" fmla="*/ 2147483647 h 129"/>
              <a:gd name="T10" fmla="*/ 2147483647 w 370"/>
              <a:gd name="T11" fmla="*/ 2147483647 h 129"/>
              <a:gd name="T12" fmla="*/ 2147483647 w 370"/>
              <a:gd name="T13" fmla="*/ 2147483647 h 129"/>
              <a:gd name="T14" fmla="*/ 2147483647 w 370"/>
              <a:gd name="T15" fmla="*/ 2147483647 h 129"/>
              <a:gd name="T16" fmla="*/ 2147483647 w 370"/>
              <a:gd name="T17" fmla="*/ 2147483647 h 129"/>
              <a:gd name="T18" fmla="*/ 2147483647 w 370"/>
              <a:gd name="T19" fmla="*/ 2147483647 h 129"/>
              <a:gd name="T20" fmla="*/ 2147483647 w 370"/>
              <a:gd name="T21" fmla="*/ 2147483647 h 129"/>
              <a:gd name="T22" fmla="*/ 2147483647 w 370"/>
              <a:gd name="T23" fmla="*/ 2147483647 h 129"/>
              <a:gd name="T24" fmla="*/ 2147483647 w 370"/>
              <a:gd name="T25" fmla="*/ 2147483647 h 129"/>
              <a:gd name="T26" fmla="*/ 2147483647 w 370"/>
              <a:gd name="T27" fmla="*/ 0 h 129"/>
              <a:gd name="T28" fmla="*/ 2147483647 w 370"/>
              <a:gd name="T29" fmla="*/ 0 h 129"/>
              <a:gd name="T30" fmla="*/ 2147483647 w 370"/>
              <a:gd name="T31" fmla="*/ 2147483647 h 129"/>
              <a:gd name="T32" fmla="*/ 2147483647 w 370"/>
              <a:gd name="T33" fmla="*/ 2147483647 h 129"/>
              <a:gd name="T34" fmla="*/ 2147483647 w 370"/>
              <a:gd name="T35" fmla="*/ 2147483647 h 129"/>
              <a:gd name="T36" fmla="*/ 2147483647 w 370"/>
              <a:gd name="T37" fmla="*/ 2147483647 h 129"/>
              <a:gd name="T38" fmla="*/ 2147483647 w 370"/>
              <a:gd name="T39" fmla="*/ 2147483647 h 129"/>
              <a:gd name="T40" fmla="*/ 2147483647 w 370"/>
              <a:gd name="T41" fmla="*/ 2147483647 h 129"/>
              <a:gd name="T42" fmla="*/ 2147483647 w 370"/>
              <a:gd name="T43" fmla="*/ 2147483647 h 129"/>
              <a:gd name="T44" fmla="*/ 2147483647 w 370"/>
              <a:gd name="T45" fmla="*/ 2147483647 h 129"/>
              <a:gd name="T46" fmla="*/ 2147483647 w 370"/>
              <a:gd name="T47" fmla="*/ 2147483647 h 129"/>
              <a:gd name="T48" fmla="*/ 2147483647 w 370"/>
              <a:gd name="T49" fmla="*/ 2147483647 h 129"/>
              <a:gd name="T50" fmla="*/ 2147483647 w 370"/>
              <a:gd name="T51" fmla="*/ 2147483647 h 129"/>
              <a:gd name="T52" fmla="*/ 2147483647 w 370"/>
              <a:gd name="T53" fmla="*/ 2147483647 h 129"/>
              <a:gd name="T54" fmla="*/ 2147483647 w 370"/>
              <a:gd name="T55" fmla="*/ 2147483647 h 129"/>
              <a:gd name="T56" fmla="*/ 2147483647 w 370"/>
              <a:gd name="T57" fmla="*/ 2147483647 h 129"/>
              <a:gd name="T58" fmla="*/ 2147483647 w 370"/>
              <a:gd name="T59" fmla="*/ 2147483647 h 129"/>
              <a:gd name="T60" fmla="*/ 2147483647 w 370"/>
              <a:gd name="T61" fmla="*/ 2147483647 h 129"/>
              <a:gd name="T62" fmla="*/ 2147483647 w 370"/>
              <a:gd name="T63" fmla="*/ 2147483647 h 129"/>
              <a:gd name="T64" fmla="*/ 2147483647 w 370"/>
              <a:gd name="T65" fmla="*/ 2147483647 h 129"/>
              <a:gd name="T66" fmla="*/ 2147483647 w 370"/>
              <a:gd name="T67" fmla="*/ 2147483647 h 129"/>
              <a:gd name="T68" fmla="*/ 2147483647 w 370"/>
              <a:gd name="T69" fmla="*/ 2147483647 h 129"/>
              <a:gd name="T70" fmla="*/ 2147483647 w 370"/>
              <a:gd name="T71" fmla="*/ 2147483647 h 129"/>
              <a:gd name="T72" fmla="*/ 2147483647 w 370"/>
              <a:gd name="T73" fmla="*/ 2147483647 h 129"/>
              <a:gd name="T74" fmla="*/ 2147483647 w 370"/>
              <a:gd name="T75" fmla="*/ 2147483647 h 129"/>
              <a:gd name="T76" fmla="*/ 0 w 370"/>
              <a:gd name="T77" fmla="*/ 2147483647 h 129"/>
              <a:gd name="T78" fmla="*/ 0 w 370"/>
              <a:gd name="T79" fmla="*/ 2147483647 h 129"/>
              <a:gd name="T80" fmla="*/ 2147483647 w 370"/>
              <a:gd name="T81" fmla="*/ 2147483647 h 129"/>
              <a:gd name="T82" fmla="*/ 2147483647 w 370"/>
              <a:gd name="T83" fmla="*/ 2147483647 h 129"/>
              <a:gd name="T84" fmla="*/ 2147483647 w 370"/>
              <a:gd name="T85" fmla="*/ 2147483647 h 129"/>
              <a:gd name="T86" fmla="*/ 2147483647 w 370"/>
              <a:gd name="T87" fmla="*/ 2147483647 h 129"/>
              <a:gd name="T88" fmla="*/ 2147483647 w 370"/>
              <a:gd name="T89" fmla="*/ 2147483647 h 129"/>
              <a:gd name="T90" fmla="*/ 2147483647 w 370"/>
              <a:gd name="T91" fmla="*/ 2147483647 h 129"/>
              <a:gd name="T92" fmla="*/ 2147483647 w 370"/>
              <a:gd name="T93" fmla="*/ 2147483647 h 129"/>
              <a:gd name="T94" fmla="*/ 2147483647 w 370"/>
              <a:gd name="T95" fmla="*/ 2147483647 h 129"/>
              <a:gd name="T96" fmla="*/ 2147483647 w 370"/>
              <a:gd name="T97" fmla="*/ 2147483647 h 129"/>
              <a:gd name="T98" fmla="*/ 2147483647 w 370"/>
              <a:gd name="T99" fmla="*/ 2147483647 h 129"/>
              <a:gd name="T100" fmla="*/ 2147483647 w 370"/>
              <a:gd name="T101" fmla="*/ 2147483647 h 129"/>
              <a:gd name="T102" fmla="*/ 2147483647 w 370"/>
              <a:gd name="T103" fmla="*/ 2147483647 h 129"/>
              <a:gd name="T104" fmla="*/ 2147483647 w 370"/>
              <a:gd name="T105" fmla="*/ 2147483647 h 129"/>
              <a:gd name="T106" fmla="*/ 2147483647 w 370"/>
              <a:gd name="T107" fmla="*/ 2147483647 h 129"/>
              <a:gd name="T108" fmla="*/ 2147483647 w 370"/>
              <a:gd name="T109" fmla="*/ 2147483647 h 129"/>
              <a:gd name="T110" fmla="*/ 2147483647 w 370"/>
              <a:gd name="T111" fmla="*/ 2147483647 h 129"/>
              <a:gd name="T112" fmla="*/ 2147483647 w 370"/>
              <a:gd name="T113" fmla="*/ 2147483647 h 129"/>
              <a:gd name="T114" fmla="*/ 2147483647 w 370"/>
              <a:gd name="T115" fmla="*/ 2147483647 h 129"/>
              <a:gd name="T116" fmla="*/ 2147483647 w 370"/>
              <a:gd name="T117" fmla="*/ 2147483647 h 129"/>
              <a:gd name="T118" fmla="*/ 2147483647 w 370"/>
              <a:gd name="T119" fmla="*/ 2147483647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"/>
              <a:gd name="T181" fmla="*/ 0 h 129"/>
              <a:gd name="T182" fmla="*/ 370 w 370"/>
              <a:gd name="T183" fmla="*/ 129 h 12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00" name="Freeform 470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4972050" y="2201863"/>
            <a:ext cx="28575" cy="52387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1" name="Freeform 471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800600" y="4075113"/>
            <a:ext cx="57150" cy="53975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74" name="Freeform 472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587875" y="1574800"/>
            <a:ext cx="122238" cy="77788"/>
          </a:xfrm>
          <a:custGeom>
            <a:avLst/>
            <a:gdLst>
              <a:gd name="T0" fmla="*/ 2147483647 w 312"/>
              <a:gd name="T1" fmla="*/ 2147483647 h 155"/>
              <a:gd name="T2" fmla="*/ 2147483647 w 312"/>
              <a:gd name="T3" fmla="*/ 2147483647 h 155"/>
              <a:gd name="T4" fmla="*/ 2147483647 w 312"/>
              <a:gd name="T5" fmla="*/ 2147483647 h 155"/>
              <a:gd name="T6" fmla="*/ 2147483647 w 312"/>
              <a:gd name="T7" fmla="*/ 2147483647 h 155"/>
              <a:gd name="T8" fmla="*/ 2147483647 w 312"/>
              <a:gd name="T9" fmla="*/ 2147483647 h 155"/>
              <a:gd name="T10" fmla="*/ 2147483647 w 312"/>
              <a:gd name="T11" fmla="*/ 2147483647 h 155"/>
              <a:gd name="T12" fmla="*/ 2147483647 w 312"/>
              <a:gd name="T13" fmla="*/ 2147483647 h 155"/>
              <a:gd name="T14" fmla="*/ 2147483647 w 312"/>
              <a:gd name="T15" fmla="*/ 2147483647 h 155"/>
              <a:gd name="T16" fmla="*/ 2147483647 w 312"/>
              <a:gd name="T17" fmla="*/ 2147483647 h 155"/>
              <a:gd name="T18" fmla="*/ 2147483647 w 312"/>
              <a:gd name="T19" fmla="*/ 2147483647 h 155"/>
              <a:gd name="T20" fmla="*/ 2147483647 w 312"/>
              <a:gd name="T21" fmla="*/ 2147483647 h 155"/>
              <a:gd name="T22" fmla="*/ 2147483647 w 312"/>
              <a:gd name="T23" fmla="*/ 2147483647 h 155"/>
              <a:gd name="T24" fmla="*/ 2147483647 w 312"/>
              <a:gd name="T25" fmla="*/ 2147483647 h 155"/>
              <a:gd name="T26" fmla="*/ 2147483647 w 312"/>
              <a:gd name="T27" fmla="*/ 2147483647 h 155"/>
              <a:gd name="T28" fmla="*/ 2147483647 w 312"/>
              <a:gd name="T29" fmla="*/ 2147483647 h 155"/>
              <a:gd name="T30" fmla="*/ 2147483647 w 312"/>
              <a:gd name="T31" fmla="*/ 2147483647 h 155"/>
              <a:gd name="T32" fmla="*/ 2147483647 w 312"/>
              <a:gd name="T33" fmla="*/ 2147483647 h 155"/>
              <a:gd name="T34" fmla="*/ 2147483647 w 312"/>
              <a:gd name="T35" fmla="*/ 2147483647 h 155"/>
              <a:gd name="T36" fmla="*/ 2147483647 w 312"/>
              <a:gd name="T37" fmla="*/ 2147483647 h 155"/>
              <a:gd name="T38" fmla="*/ 2147483647 w 312"/>
              <a:gd name="T39" fmla="*/ 2147483647 h 155"/>
              <a:gd name="T40" fmla="*/ 2147483647 w 312"/>
              <a:gd name="T41" fmla="*/ 2147483647 h 155"/>
              <a:gd name="T42" fmla="*/ 2147483647 w 312"/>
              <a:gd name="T43" fmla="*/ 2147483647 h 155"/>
              <a:gd name="T44" fmla="*/ 2147483647 w 312"/>
              <a:gd name="T45" fmla="*/ 2147483647 h 155"/>
              <a:gd name="T46" fmla="*/ 2147483647 w 312"/>
              <a:gd name="T47" fmla="*/ 2147483647 h 155"/>
              <a:gd name="T48" fmla="*/ 2147483647 w 312"/>
              <a:gd name="T49" fmla="*/ 2147483647 h 155"/>
              <a:gd name="T50" fmla="*/ 2147483647 w 312"/>
              <a:gd name="T51" fmla="*/ 2147483647 h 155"/>
              <a:gd name="T52" fmla="*/ 2147483647 w 312"/>
              <a:gd name="T53" fmla="*/ 2147483647 h 155"/>
              <a:gd name="T54" fmla="*/ 2147483647 w 312"/>
              <a:gd name="T55" fmla="*/ 2147483647 h 155"/>
              <a:gd name="T56" fmla="*/ 2147483647 w 312"/>
              <a:gd name="T57" fmla="*/ 2147483647 h 155"/>
              <a:gd name="T58" fmla="*/ 2147483647 w 312"/>
              <a:gd name="T59" fmla="*/ 2147483647 h 155"/>
              <a:gd name="T60" fmla="*/ 2147483647 w 312"/>
              <a:gd name="T61" fmla="*/ 2147483647 h 155"/>
              <a:gd name="T62" fmla="*/ 2147483647 w 312"/>
              <a:gd name="T63" fmla="*/ 2147483647 h 155"/>
              <a:gd name="T64" fmla="*/ 2147483647 w 312"/>
              <a:gd name="T65" fmla="*/ 2147483647 h 155"/>
              <a:gd name="T66" fmla="*/ 2147483647 w 312"/>
              <a:gd name="T67" fmla="*/ 2147483647 h 155"/>
              <a:gd name="T68" fmla="*/ 2147483647 w 312"/>
              <a:gd name="T69" fmla="*/ 2147483647 h 155"/>
              <a:gd name="T70" fmla="*/ 2147483647 w 312"/>
              <a:gd name="T71" fmla="*/ 0 h 155"/>
              <a:gd name="T72" fmla="*/ 2147483647 w 312"/>
              <a:gd name="T73" fmla="*/ 2147483647 h 155"/>
              <a:gd name="T74" fmla="*/ 2147483647 w 312"/>
              <a:gd name="T75" fmla="*/ 2147483647 h 155"/>
              <a:gd name="T76" fmla="*/ 2147483647 w 312"/>
              <a:gd name="T77" fmla="*/ 2147483647 h 155"/>
              <a:gd name="T78" fmla="*/ 2147483647 w 312"/>
              <a:gd name="T79" fmla="*/ 2147483647 h 155"/>
              <a:gd name="T80" fmla="*/ 2147483647 w 312"/>
              <a:gd name="T81" fmla="*/ 2147483647 h 155"/>
              <a:gd name="T82" fmla="*/ 2147483647 w 312"/>
              <a:gd name="T83" fmla="*/ 2147483647 h 155"/>
              <a:gd name="T84" fmla="*/ 2147483647 w 312"/>
              <a:gd name="T85" fmla="*/ 2147483647 h 155"/>
              <a:gd name="T86" fmla="*/ 2147483647 w 312"/>
              <a:gd name="T87" fmla="*/ 2147483647 h 155"/>
              <a:gd name="T88" fmla="*/ 2147483647 w 312"/>
              <a:gd name="T89" fmla="*/ 2147483647 h 155"/>
              <a:gd name="T90" fmla="*/ 2147483647 w 312"/>
              <a:gd name="T91" fmla="*/ 2147483647 h 155"/>
              <a:gd name="T92" fmla="*/ 2147483647 w 312"/>
              <a:gd name="T93" fmla="*/ 2147483647 h 155"/>
              <a:gd name="T94" fmla="*/ 2147483647 w 312"/>
              <a:gd name="T95" fmla="*/ 2147483647 h 155"/>
              <a:gd name="T96" fmla="*/ 2147483647 w 312"/>
              <a:gd name="T97" fmla="*/ 2147483647 h 155"/>
              <a:gd name="T98" fmla="*/ 2147483647 w 312"/>
              <a:gd name="T99" fmla="*/ 2147483647 h 155"/>
              <a:gd name="T100" fmla="*/ 2147483647 w 312"/>
              <a:gd name="T101" fmla="*/ 2147483647 h 155"/>
              <a:gd name="T102" fmla="*/ 2147483647 w 312"/>
              <a:gd name="T103" fmla="*/ 2147483647 h 155"/>
              <a:gd name="T104" fmla="*/ 2147483647 w 312"/>
              <a:gd name="T105" fmla="*/ 2147483647 h 155"/>
              <a:gd name="T106" fmla="*/ 2147483647 w 312"/>
              <a:gd name="T107" fmla="*/ 2147483647 h 155"/>
              <a:gd name="T108" fmla="*/ 2147483647 w 312"/>
              <a:gd name="T109" fmla="*/ 2147483647 h 155"/>
              <a:gd name="T110" fmla="*/ 2147483647 w 312"/>
              <a:gd name="T111" fmla="*/ 2147483647 h 155"/>
              <a:gd name="T112" fmla="*/ 2147483647 w 312"/>
              <a:gd name="T113" fmla="*/ 2147483647 h 155"/>
              <a:gd name="T114" fmla="*/ 0 w 312"/>
              <a:gd name="T115" fmla="*/ 2147483647 h 155"/>
              <a:gd name="T116" fmla="*/ 2147483647 w 312"/>
              <a:gd name="T117" fmla="*/ 2147483647 h 155"/>
              <a:gd name="T118" fmla="*/ 2147483647 w 312"/>
              <a:gd name="T119" fmla="*/ 2147483647 h 155"/>
              <a:gd name="T120" fmla="*/ 2147483647 w 312"/>
              <a:gd name="T121" fmla="*/ 2147483647 h 155"/>
              <a:gd name="T122" fmla="*/ 2147483647 w 3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2"/>
              <a:gd name="T187" fmla="*/ 0 h 155"/>
              <a:gd name="T188" fmla="*/ 312 w 3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75" name="Freeform 473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313238" y="1747838"/>
            <a:ext cx="19050" cy="55562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50"/>
              <a:gd name="T47" fmla="*/ 46 w 46"/>
              <a:gd name="T48" fmla="*/ 50 h 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04" name="Freeform 474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962525" y="3503613"/>
            <a:ext cx="65088" cy="223837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5" name="Freeform 475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489450" y="2171700"/>
            <a:ext cx="14288" cy="53975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6" name="Freeform 476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787900" y="3683000"/>
            <a:ext cx="174625" cy="201613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7" name="Freeform 477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705350" y="3473450"/>
            <a:ext cx="274638" cy="279400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8" name="Freeform 478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460875" y="3727450"/>
            <a:ext cx="327025" cy="3556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9" name="Freeform 479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3789363" y="2730500"/>
            <a:ext cx="150812" cy="131763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10" name="Freeform 480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881563" y="3254375"/>
            <a:ext cx="252412" cy="312738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83" name="Freeform 481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7270750" y="1870075"/>
            <a:ext cx="17463" cy="53975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0"/>
              <a:gd name="T50" fmla="*/ 52 w 52"/>
              <a:gd name="T51" fmla="*/ 50 h 5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4" name="Freeform 482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7138988" y="1871663"/>
            <a:ext cx="131762" cy="117475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20"/>
              <a:gd name="T178" fmla="*/ 0 h 234"/>
              <a:gd name="T179" fmla="*/ 320 w 320"/>
              <a:gd name="T180" fmla="*/ 234 h 23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08" name="Freeform 483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112000" y="2201863"/>
            <a:ext cx="47625" cy="52387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5"/>
              <a:gd name="T127" fmla="*/ 0 h 93"/>
              <a:gd name="T128" fmla="*/ 125 w 125"/>
              <a:gd name="T129" fmla="*/ 93 h 9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09" name="Freeform 484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061200" y="2214563"/>
            <a:ext cx="55563" cy="79375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3"/>
              <a:gd name="T166" fmla="*/ 0 h 154"/>
              <a:gd name="T167" fmla="*/ 133 w 133"/>
              <a:gd name="T168" fmla="*/ 154 h 15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0" name="Freeform 485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075488" y="1992313"/>
            <a:ext cx="195262" cy="228600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85"/>
              <a:gd name="T190" fmla="*/ 0 h 468"/>
              <a:gd name="T191" fmla="*/ 485 w 485"/>
              <a:gd name="T192" fmla="*/ 468 h 46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1" name="Freeform 486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4824413" y="958850"/>
            <a:ext cx="100012" cy="55563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89" name="Freeform 487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4957763" y="942975"/>
            <a:ext cx="58737" cy="52388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3" name="Freeform 488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991100" y="949325"/>
            <a:ext cx="122238" cy="53975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4" name="Freeform 489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487988" y="1122363"/>
            <a:ext cx="39687" cy="53975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0"/>
              <a:gd name="T82" fmla="*/ 0 h 42"/>
              <a:gd name="T83" fmla="*/ 100 w 100"/>
              <a:gd name="T84" fmla="*/ 42 h 4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92" name="Freeform 490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403850" y="992188"/>
            <a:ext cx="14288" cy="53975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"/>
              <a:gd name="T32" fmla="*/ 40 w 4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5" name="Freeform 491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24488" y="952500"/>
            <a:ext cx="14287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6" name="Freeform 492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559425" y="1060450"/>
            <a:ext cx="15875" cy="53975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43"/>
              <a:gd name="T38" fmla="*/ 41 w 41"/>
              <a:gd name="T39" fmla="*/ 43 h 4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7" name="Freeform 493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610225" y="952500"/>
            <a:ext cx="87313" cy="57150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13"/>
              <a:gd name="T118" fmla="*/ 0 h 62"/>
              <a:gd name="T119" fmla="*/ 213 w 213"/>
              <a:gd name="T120" fmla="*/ 62 h 6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8" name="Freeform 494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665788" y="976313"/>
            <a:ext cx="96837" cy="57150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9"/>
              <a:gd name="T163" fmla="*/ 0 h 56"/>
              <a:gd name="T164" fmla="*/ 239 w 239"/>
              <a:gd name="T165" fmla="*/ 56 h 5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19" name="Freeform 495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775325" y="990600"/>
            <a:ext cx="77788" cy="52388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7"/>
              <a:gd name="T121" fmla="*/ 0 h 80"/>
              <a:gd name="T122" fmla="*/ 187 w 187"/>
              <a:gd name="T123" fmla="*/ 80 h 8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398" name="Freeform 496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6265863" y="1106488"/>
            <a:ext cx="74612" cy="55562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83"/>
              <a:gd name="T103" fmla="*/ 0 h 73"/>
              <a:gd name="T104" fmla="*/ 183 w 183"/>
              <a:gd name="T105" fmla="*/ 73 h 7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20" name="Freeform 497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329363" y="1122363"/>
            <a:ext cx="30162" cy="53975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42"/>
              <a:gd name="T77" fmla="*/ 79 w 79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21" name="Freeform 498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356350" y="1133475"/>
            <a:ext cx="49213" cy="53975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3"/>
              <a:gd name="T106" fmla="*/ 0 h 52"/>
              <a:gd name="T107" fmla="*/ 113 w 113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22" name="Freeform 499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143625" y="1108075"/>
            <a:ext cx="57150" cy="55563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39"/>
              <a:gd name="T67" fmla="*/ 0 h 40"/>
              <a:gd name="T68" fmla="*/ 139 w 139"/>
              <a:gd name="T69" fmla="*/ 40 h 4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023" name="Freeform 500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423025" y="1054100"/>
            <a:ext cx="130175" cy="52388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5"/>
              <a:gd name="T97" fmla="*/ 0 h 71"/>
              <a:gd name="T98" fmla="*/ 325 w 325"/>
              <a:gd name="T99" fmla="*/ 71 h 7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67" name="Freeform 501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572250" y="1060450"/>
            <a:ext cx="88900" cy="53975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0"/>
              <a:gd name="T172" fmla="*/ 0 h 72"/>
              <a:gd name="T173" fmla="*/ 220 w 220"/>
              <a:gd name="T174" fmla="*/ 72 h 7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68" name="Freeform 502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535738" y="1104900"/>
            <a:ext cx="58737" cy="55563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6"/>
              <a:gd name="T97" fmla="*/ 0 h 30"/>
              <a:gd name="T98" fmla="*/ 146 w 146"/>
              <a:gd name="T99" fmla="*/ 30 h 3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2" name="Freeform 503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16688" y="1101725"/>
            <a:ext cx="19050" cy="55563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3"/>
              <a:gd name="T40" fmla="*/ 0 h 9"/>
              <a:gd name="T41" fmla="*/ 53 w 53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3" name="Line 504"/>
          <p:cNvSpPr>
            <a:spLocks noChangeShapeType="1"/>
          </p:cNvSpPr>
          <p:nvPr>
            <p:custDataLst>
              <p:tags r:id="rId340"/>
            </p:custDataLst>
          </p:nvPr>
        </p:nvSpPr>
        <p:spPr bwMode="auto">
          <a:xfrm flipV="1">
            <a:off x="6518275" y="1100138"/>
            <a:ext cx="0" cy="158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74" name="Freeform 505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5743575" y="1035050"/>
            <a:ext cx="11113" cy="50800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25"/>
              <a:gd name="T35" fmla="*/ 26 w 26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6" name="Freeform 506"/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6442075" y="1100138"/>
            <a:ext cx="9525" cy="53975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79" name="Freeform 507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6399213" y="1066800"/>
            <a:ext cx="9525" cy="53975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8"/>
              <a:gd name="T17" fmla="*/ 20 w 20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2" name="Freeform 508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865938" y="1598613"/>
            <a:ext cx="11112" cy="53975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3"/>
              <a:gd name="T46" fmla="*/ 0 h 31"/>
              <a:gd name="T47" fmla="*/ 33 w 33"/>
              <a:gd name="T48" fmla="*/ 31 h 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3" name="Freeform 509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138988" y="1152525"/>
            <a:ext cx="52387" cy="55563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29"/>
              <a:gd name="T112" fmla="*/ 0 h 56"/>
              <a:gd name="T113" fmla="*/ 129 w 129"/>
              <a:gd name="T114" fmla="*/ 56 h 5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4" name="Freeform 510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265988" y="1481138"/>
            <a:ext cx="14287" cy="53975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42"/>
              <a:gd name="T32" fmla="*/ 41 w 41"/>
              <a:gd name="T33" fmla="*/ 42 h 4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5" name="Freeform 511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405688" y="1585913"/>
            <a:ext cx="39687" cy="57150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3"/>
              <a:gd name="T67" fmla="*/ 0 h 39"/>
              <a:gd name="T68" fmla="*/ 93 w 93"/>
              <a:gd name="T69" fmla="*/ 39 h 3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4" name="Freeform 512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453313" y="1600200"/>
            <a:ext cx="17462" cy="55563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19"/>
              <a:gd name="T38" fmla="*/ 39 w 39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5" name="Freeform 513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327900" y="1719263"/>
            <a:ext cx="12700" cy="53975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6"/>
              <a:gd name="T46" fmla="*/ 0 h 36"/>
              <a:gd name="T47" fmla="*/ 26 w 26"/>
              <a:gd name="T48" fmla="*/ 36 h 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6" name="Freeform 514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337425" y="1746250"/>
            <a:ext cx="3175" cy="55563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7"/>
              <a:gd name="T17" fmla="*/ 6 w 6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7" name="Freeform 515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26313" y="1822450"/>
            <a:ext cx="7937" cy="52388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"/>
              <a:gd name="T61" fmla="*/ 0 h 43"/>
              <a:gd name="T62" fmla="*/ 20 w 20"/>
              <a:gd name="T63" fmla="*/ 43 h 4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8" name="Freeform 516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05675" y="1855788"/>
            <a:ext cx="0" cy="53975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0"/>
              <a:gd name="T11" fmla="*/ 30 h 30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19" name="Freeform 517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05675" y="1855788"/>
            <a:ext cx="6350" cy="53975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  <a:gd name="T9" fmla="*/ 0 w 20"/>
              <a:gd name="T10" fmla="*/ 0 h 24"/>
              <a:gd name="T11" fmla="*/ 20 w 20"/>
              <a:gd name="T12" fmla="*/ 24 h 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20" name="Freeform 518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075488" y="1470025"/>
            <a:ext cx="15875" cy="57150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6"/>
              <a:gd name="T52" fmla="*/ 0 h 19"/>
              <a:gd name="T53" fmla="*/ 46 w 46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21" name="Freeform 519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4573588" y="1600200"/>
            <a:ext cx="44450" cy="55563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"/>
              <a:gd name="T34" fmla="*/ 0 h 55"/>
              <a:gd name="T35" fmla="*/ 100 w 100"/>
              <a:gd name="T36" fmla="*/ 55 h 5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6" name="Freeform 520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4992688" y="1220788"/>
            <a:ext cx="39687" cy="53975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51"/>
              <a:gd name="T119" fmla="*/ 99 w 99"/>
              <a:gd name="T120" fmla="*/ 51 h 5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8" name="Freeform 521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026025" y="1046163"/>
            <a:ext cx="212725" cy="152400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25"/>
              <a:gd name="T169" fmla="*/ 0 h 311"/>
              <a:gd name="T170" fmla="*/ 525 w 525"/>
              <a:gd name="T171" fmla="*/ 311 h 31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89" name="Freeform 522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32350" y="1336675"/>
            <a:ext cx="28575" cy="50800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9"/>
              <a:gd name="T94" fmla="*/ 0 h 38"/>
              <a:gd name="T95" fmla="*/ 79 w 79"/>
              <a:gd name="T96" fmla="*/ 38 h 3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90" name="Freeform 523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6980238" y="1612900"/>
            <a:ext cx="182562" cy="24923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59"/>
              <a:gd name="T142" fmla="*/ 0 h 511"/>
              <a:gd name="T143" fmla="*/ 459 w 459"/>
              <a:gd name="T144" fmla="*/ 511 h 51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grpSp>
        <p:nvGrpSpPr>
          <p:cNvPr id="2491" name="Group 524"/>
          <p:cNvGrpSpPr>
            <a:grpSpLocks/>
          </p:cNvGrpSpPr>
          <p:nvPr>
            <p:custDataLst>
              <p:tags r:id="rId360"/>
            </p:custDataLst>
          </p:nvPr>
        </p:nvGrpSpPr>
        <p:grpSpPr bwMode="auto">
          <a:xfrm>
            <a:off x="5853113" y="1571625"/>
            <a:ext cx="625475" cy="357188"/>
            <a:chOff x="4115" y="1551"/>
            <a:chExt cx="504" cy="244"/>
          </a:xfrm>
        </p:grpSpPr>
        <p:sp>
          <p:nvSpPr>
            <p:cNvPr id="2499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0 h 259"/>
                <a:gd name="T2" fmla="*/ 0 w 240"/>
                <a:gd name="T3" fmla="*/ 0 h 259"/>
                <a:gd name="T4" fmla="*/ 0 w 240"/>
                <a:gd name="T5" fmla="*/ 0 h 259"/>
                <a:gd name="T6" fmla="*/ 0 w 240"/>
                <a:gd name="T7" fmla="*/ 0 h 259"/>
                <a:gd name="T8" fmla="*/ 0 w 240"/>
                <a:gd name="T9" fmla="*/ 0 h 259"/>
                <a:gd name="T10" fmla="*/ 0 w 240"/>
                <a:gd name="T11" fmla="*/ 0 h 259"/>
                <a:gd name="T12" fmla="*/ 0 w 240"/>
                <a:gd name="T13" fmla="*/ 0 h 259"/>
                <a:gd name="T14" fmla="*/ 0 w 240"/>
                <a:gd name="T15" fmla="*/ 0 h 259"/>
                <a:gd name="T16" fmla="*/ 0 w 240"/>
                <a:gd name="T17" fmla="*/ 0 h 259"/>
                <a:gd name="T18" fmla="*/ 0 w 240"/>
                <a:gd name="T19" fmla="*/ 0 h 259"/>
                <a:gd name="T20" fmla="*/ 0 w 240"/>
                <a:gd name="T21" fmla="*/ 0 h 259"/>
                <a:gd name="T22" fmla="*/ 0 w 240"/>
                <a:gd name="T23" fmla="*/ 0 h 259"/>
                <a:gd name="T24" fmla="*/ 0 w 240"/>
                <a:gd name="T25" fmla="*/ 0 h 259"/>
                <a:gd name="T26" fmla="*/ 0 w 240"/>
                <a:gd name="T27" fmla="*/ 0 h 259"/>
                <a:gd name="T28" fmla="*/ 0 w 240"/>
                <a:gd name="T29" fmla="*/ 0 h 259"/>
                <a:gd name="T30" fmla="*/ 0 w 240"/>
                <a:gd name="T31" fmla="*/ 0 h 259"/>
                <a:gd name="T32" fmla="*/ 0 w 240"/>
                <a:gd name="T33" fmla="*/ 0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02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0 h 104"/>
                <a:gd name="T2" fmla="*/ 0 w 259"/>
                <a:gd name="T3" fmla="*/ 0 h 104"/>
                <a:gd name="T4" fmla="*/ 0 w 259"/>
                <a:gd name="T5" fmla="*/ 0 h 104"/>
                <a:gd name="T6" fmla="*/ 0 w 259"/>
                <a:gd name="T7" fmla="*/ 0 h 104"/>
                <a:gd name="T8" fmla="*/ 0 w 259"/>
                <a:gd name="T9" fmla="*/ 0 h 104"/>
                <a:gd name="T10" fmla="*/ 0 w 259"/>
                <a:gd name="T11" fmla="*/ 0 h 104"/>
                <a:gd name="T12" fmla="*/ 0 w 259"/>
                <a:gd name="T13" fmla="*/ 0 h 104"/>
                <a:gd name="T14" fmla="*/ 0 w 259"/>
                <a:gd name="T15" fmla="*/ 0 h 104"/>
                <a:gd name="T16" fmla="*/ 0 w 259"/>
                <a:gd name="T17" fmla="*/ 0 h 104"/>
                <a:gd name="T18" fmla="*/ 0 w 259"/>
                <a:gd name="T19" fmla="*/ 0 h 104"/>
                <a:gd name="T20" fmla="*/ 0 w 259"/>
                <a:gd name="T21" fmla="*/ 0 h 104"/>
                <a:gd name="T22" fmla="*/ 0 w 259"/>
                <a:gd name="T23" fmla="*/ 0 h 104"/>
                <a:gd name="T24" fmla="*/ 0 w 259"/>
                <a:gd name="T25" fmla="*/ 0 h 104"/>
                <a:gd name="T26" fmla="*/ 0 w 259"/>
                <a:gd name="T27" fmla="*/ 0 h 104"/>
                <a:gd name="T28" fmla="*/ 0 w 259"/>
                <a:gd name="T29" fmla="*/ 0 h 104"/>
                <a:gd name="T30" fmla="*/ 0 w 259"/>
                <a:gd name="T31" fmla="*/ 0 h 104"/>
                <a:gd name="T32" fmla="*/ 0 w 259"/>
                <a:gd name="T33" fmla="*/ 0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557" name="Freeform 527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4973638" y="2270125"/>
            <a:ext cx="493712" cy="476250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03" name="Freeform 528"/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4484688" y="1844675"/>
            <a:ext cx="52387" cy="53975"/>
          </a:xfrm>
          <a:custGeom>
            <a:avLst/>
            <a:gdLst>
              <a:gd name="T0" fmla="*/ 2147483647 w 146"/>
              <a:gd name="T1" fmla="*/ 2147483647 h 81"/>
              <a:gd name="T2" fmla="*/ 2147483647 w 146"/>
              <a:gd name="T3" fmla="*/ 2147483647 h 81"/>
              <a:gd name="T4" fmla="*/ 2147483647 w 146"/>
              <a:gd name="T5" fmla="*/ 2147483647 h 81"/>
              <a:gd name="T6" fmla="*/ 2147483647 w 146"/>
              <a:gd name="T7" fmla="*/ 2147483647 h 81"/>
              <a:gd name="T8" fmla="*/ 2147483647 w 146"/>
              <a:gd name="T9" fmla="*/ 2147483647 h 81"/>
              <a:gd name="T10" fmla="*/ 2147483647 w 146"/>
              <a:gd name="T11" fmla="*/ 2147483647 h 81"/>
              <a:gd name="T12" fmla="*/ 2147483647 w 146"/>
              <a:gd name="T13" fmla="*/ 2147483647 h 81"/>
              <a:gd name="T14" fmla="*/ 2147483647 w 146"/>
              <a:gd name="T15" fmla="*/ 2147483647 h 81"/>
              <a:gd name="T16" fmla="*/ 2147483647 w 146"/>
              <a:gd name="T17" fmla="*/ 2147483647 h 81"/>
              <a:gd name="T18" fmla="*/ 2147483647 w 146"/>
              <a:gd name="T19" fmla="*/ 2147483647 h 81"/>
              <a:gd name="T20" fmla="*/ 2147483647 w 146"/>
              <a:gd name="T21" fmla="*/ 2147483647 h 81"/>
              <a:gd name="T22" fmla="*/ 2147483647 w 146"/>
              <a:gd name="T23" fmla="*/ 2147483647 h 81"/>
              <a:gd name="T24" fmla="*/ 2147483647 w 146"/>
              <a:gd name="T25" fmla="*/ 2147483647 h 81"/>
              <a:gd name="T26" fmla="*/ 2147483647 w 146"/>
              <a:gd name="T27" fmla="*/ 2147483647 h 81"/>
              <a:gd name="T28" fmla="*/ 0 w 146"/>
              <a:gd name="T29" fmla="*/ 2147483647 h 81"/>
              <a:gd name="T30" fmla="*/ 0 w 146"/>
              <a:gd name="T31" fmla="*/ 2147483647 h 81"/>
              <a:gd name="T32" fmla="*/ 0 w 146"/>
              <a:gd name="T33" fmla="*/ 2147483647 h 81"/>
              <a:gd name="T34" fmla="*/ 0 w 146"/>
              <a:gd name="T35" fmla="*/ 2147483647 h 81"/>
              <a:gd name="T36" fmla="*/ 0 w 146"/>
              <a:gd name="T37" fmla="*/ 2147483647 h 81"/>
              <a:gd name="T38" fmla="*/ 2147483647 w 146"/>
              <a:gd name="T39" fmla="*/ 2147483647 h 81"/>
              <a:gd name="T40" fmla="*/ 2147483647 w 146"/>
              <a:gd name="T41" fmla="*/ 2147483647 h 81"/>
              <a:gd name="T42" fmla="*/ 2147483647 w 146"/>
              <a:gd name="T43" fmla="*/ 2147483647 h 81"/>
              <a:gd name="T44" fmla="*/ 2147483647 w 146"/>
              <a:gd name="T45" fmla="*/ 2147483647 h 81"/>
              <a:gd name="T46" fmla="*/ 2147483647 w 146"/>
              <a:gd name="T47" fmla="*/ 2147483647 h 81"/>
              <a:gd name="T48" fmla="*/ 2147483647 w 146"/>
              <a:gd name="T49" fmla="*/ 2147483647 h 81"/>
              <a:gd name="T50" fmla="*/ 2147483647 w 146"/>
              <a:gd name="T51" fmla="*/ 2147483647 h 81"/>
              <a:gd name="T52" fmla="*/ 2147483647 w 146"/>
              <a:gd name="T53" fmla="*/ 2147483647 h 81"/>
              <a:gd name="T54" fmla="*/ 2147483647 w 146"/>
              <a:gd name="T55" fmla="*/ 2147483647 h 81"/>
              <a:gd name="T56" fmla="*/ 2147483647 w 146"/>
              <a:gd name="T57" fmla="*/ 0 h 81"/>
              <a:gd name="T58" fmla="*/ 2147483647 w 146"/>
              <a:gd name="T59" fmla="*/ 2147483647 h 81"/>
              <a:gd name="T60" fmla="*/ 2147483647 w 146"/>
              <a:gd name="T61" fmla="*/ 2147483647 h 81"/>
              <a:gd name="T62" fmla="*/ 2147483647 w 146"/>
              <a:gd name="T63" fmla="*/ 2147483647 h 81"/>
              <a:gd name="T64" fmla="*/ 2147483647 w 146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6"/>
              <a:gd name="T100" fmla="*/ 0 h 81"/>
              <a:gd name="T101" fmla="*/ 146 w 146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59" name="Freeform 529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303713" y="2043113"/>
            <a:ext cx="15875" cy="53975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60" name="Freeform 530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3860800" y="2365375"/>
            <a:ext cx="26988" cy="53975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61" name="Freeform 531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3806825" y="2381250"/>
            <a:ext cx="22225" cy="55563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62" name="Freeform 532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783013" y="2374900"/>
            <a:ext cx="6350" cy="52388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63" name="Freeform 533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4967288" y="2120900"/>
            <a:ext cx="163512" cy="149225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11" name="Freeform 534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6918325" y="2476500"/>
            <a:ext cx="41275" cy="74613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155"/>
              <a:gd name="T131" fmla="*/ 100 w 100"/>
              <a:gd name="T132" fmla="*/ 155 h 1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2494" name="Group 535"/>
          <p:cNvGrpSpPr>
            <a:grpSpLocks/>
          </p:cNvGrpSpPr>
          <p:nvPr>
            <p:custDataLst>
              <p:tags r:id="rId369"/>
            </p:custDataLst>
          </p:nvPr>
        </p:nvGrpSpPr>
        <p:grpSpPr bwMode="auto">
          <a:xfrm>
            <a:off x="4726562" y="1978371"/>
            <a:ext cx="449728" cy="187879"/>
            <a:chOff x="3289" y="1830"/>
            <a:chExt cx="363" cy="128"/>
          </a:xfrm>
          <a:solidFill>
            <a:schemeClr val="tx2">
              <a:lumMod val="75000"/>
            </a:schemeClr>
          </a:solidFill>
        </p:grpSpPr>
        <p:sp>
          <p:nvSpPr>
            <p:cNvPr id="2566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567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568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569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2570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2571" name="Freeform 541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2852738" y="3054350"/>
            <a:ext cx="92075" cy="114300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accent5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12" name="Freeform 542"/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6527800" y="2530475"/>
            <a:ext cx="193675" cy="42703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8"/>
              <a:gd name="T154" fmla="*/ 0 h 875"/>
              <a:gd name="T155" fmla="*/ 478 w 478"/>
              <a:gd name="T156" fmla="*/ 875 h 87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513" name="Freeform 543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6610350" y="3168650"/>
            <a:ext cx="23813" cy="53975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574" name="Freeform 544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5391150" y="2478088"/>
            <a:ext cx="161925" cy="25241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75" name="Freeform 545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4203700" y="2528888"/>
            <a:ext cx="350838" cy="358775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tx2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76" name="Freeform 546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4491038" y="3081338"/>
            <a:ext cx="279400" cy="242887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tx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514" name="Freeform 547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549775" y="1174750"/>
            <a:ext cx="219075" cy="8572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15" name="Freeform 548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026025" y="1160463"/>
            <a:ext cx="100013" cy="55562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16" name="Freeform 549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157788" y="1143000"/>
            <a:ext cx="60325" cy="53975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17" name="Freeform 550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192713" y="1150938"/>
            <a:ext cx="120650" cy="53975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18" name="Line 359"/>
          <p:cNvSpPr>
            <a:spLocks noChangeShapeType="1"/>
          </p:cNvSpPr>
          <p:nvPr>
            <p:custDataLst>
              <p:tags r:id="rId380"/>
            </p:custDataLst>
          </p:nvPr>
        </p:nvSpPr>
        <p:spPr bwMode="auto">
          <a:xfrm flipH="1">
            <a:off x="7810500" y="72707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66" name="Freeform 36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7810500" y="735013"/>
            <a:ext cx="12700" cy="53975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567" name="Freeform 361"/>
          <p:cNvSpPr>
            <a:spLocks/>
          </p:cNvSpPr>
          <p:nvPr>
            <p:custDataLst>
              <p:tags r:id="rId382"/>
            </p:custDataLst>
          </p:nvPr>
        </p:nvSpPr>
        <p:spPr bwMode="auto">
          <a:xfrm>
            <a:off x="7818438" y="722313"/>
            <a:ext cx="4762" cy="53975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accent5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grpSp>
        <p:nvGrpSpPr>
          <p:cNvPr id="2519" name="Group 2026"/>
          <p:cNvGrpSpPr>
            <a:grpSpLocks/>
          </p:cNvGrpSpPr>
          <p:nvPr/>
        </p:nvGrpSpPr>
        <p:grpSpPr bwMode="auto">
          <a:xfrm>
            <a:off x="774700" y="2833688"/>
            <a:ext cx="1431925" cy="1323975"/>
            <a:chOff x="149635" y="947894"/>
            <a:chExt cx="1431994" cy="1324322"/>
          </a:xfrm>
        </p:grpSpPr>
        <p:sp>
          <p:nvSpPr>
            <p:cNvPr id="2520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  <p:cNvSpPr>
              <a:spLocks noChangeArrowheads="1"/>
            </p:cNvSpPr>
            <p:nvPr/>
          </p:nvSpPr>
          <p:spPr bwMode="gray">
            <a:xfrm>
              <a:off x="339960" y="947894"/>
              <a:ext cx="1241669" cy="1204319"/>
            </a:xfrm>
            <a:prstGeom prst="rect">
              <a:avLst/>
            </a:prstGeom>
            <a:solidFill>
              <a:srgbClr val="FFFFFF">
                <a:alpha val="90195"/>
              </a:srgbClr>
            </a:solidFill>
            <a:ln w="6350">
              <a:noFill/>
              <a:miter lim="800000"/>
              <a:headEnd/>
              <a:tailEnd/>
            </a:ln>
          </p:spPr>
          <p:txBody>
            <a:bodyPr lIns="108000" tIns="72000" rIns="36000" bIns="18000"/>
            <a:lstStyle/>
            <a:p>
              <a:pPr eaLnBrk="0" hangingPunct="0"/>
              <a:r>
                <a:rPr lang="ru-RU" altLang="ja-JP" sz="1100">
                  <a:solidFill>
                    <a:schemeClr val="tx2"/>
                  </a:solidFill>
                  <a:cs typeface="Arial" pitchFamily="34" charset="0"/>
                </a:rPr>
                <a:t>Америка</a:t>
              </a:r>
              <a:endParaRPr lang="en-US" altLang="ja-JP" sz="1100">
                <a:solidFill>
                  <a:schemeClr val="tx2"/>
                </a:solidFill>
                <a:cs typeface="Arial" pitchFamily="34" charset="0"/>
              </a:endParaRPr>
            </a:p>
            <a:p>
              <a:pPr eaLnBrk="0" hangingPunct="0"/>
              <a:endParaRPr lang="en-US" altLang="ja-JP" sz="1100" b="1">
                <a:solidFill>
                  <a:schemeClr val="tx2"/>
                </a:solidFill>
                <a:cs typeface="Arial" pitchFamily="34" charset="0"/>
              </a:endParaRPr>
            </a:p>
            <a:p>
              <a:pPr eaLnBrk="0" hangingPunct="0"/>
              <a:r>
                <a:rPr lang="en-US" altLang="ja-JP" sz="1100" b="1">
                  <a:cs typeface="Arial" pitchFamily="34" charset="0"/>
                </a:rPr>
                <a:t>300 </a:t>
              </a:r>
              <a:r>
                <a:rPr lang="ru-RU" altLang="ja-JP" sz="1100" b="1">
                  <a:cs typeface="Arial" pitchFamily="34" charset="0"/>
                </a:rPr>
                <a:t>клиентов</a:t>
              </a:r>
              <a:endParaRPr lang="en-US" altLang="ja-JP" sz="1100" b="1">
                <a:cs typeface="Arial" pitchFamily="34" charset="0"/>
              </a:endParaRPr>
            </a:p>
            <a:p>
              <a:pPr eaLnBrk="0" hangingPunct="0"/>
              <a:r>
                <a:rPr lang="en-US" altLang="ja-JP" sz="1100">
                  <a:cs typeface="Arial" pitchFamily="34" charset="0"/>
                </a:rPr>
                <a:t>[15%] </a:t>
              </a:r>
            </a:p>
          </p:txBody>
        </p:sp>
        <p:graphicFrame>
          <p:nvGraphicFramePr>
            <p:cNvPr id="2054" name="Chart 2022" descr="&lt;tags&gt;&lt;tag n=&quot;AppId&quot; v=&quot;1&quot; /&gt;&lt;tag n=&quot;Type&quot; v=&quot;0&quot; /&gt;&lt;tag n=&quot;TimeStamp&quot; v=&quot;2014-03-31 13:18:20&quot; /&gt;&lt;/tags&gt;"/>
            <p:cNvGraphicFramePr>
              <a:graphicFrameLocks/>
            </p:cNvGraphicFramePr>
            <p:nvPr/>
          </p:nvGraphicFramePr>
          <p:xfrm>
            <a:off x="149635" y="1533669"/>
            <a:ext cx="915414" cy="7385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8" r:id="rId388" imgW="914324" imgH="737555" progId="Excel.Sheet.8">
                    <p:embed/>
                  </p:oleObj>
                </mc:Choice>
                <mc:Fallback>
                  <p:oleObj r:id="rId388" imgW="914324" imgH="737555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8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49635" y="1533669"/>
                          <a:ext cx="915414" cy="73854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2521" name="Group 2028"/>
          <p:cNvGrpSpPr>
            <a:grpSpLocks/>
          </p:cNvGrpSpPr>
          <p:nvPr/>
        </p:nvGrpSpPr>
        <p:grpSpPr bwMode="auto">
          <a:xfrm>
            <a:off x="4638675" y="2598738"/>
            <a:ext cx="1606550" cy="1285875"/>
            <a:chOff x="4385267" y="2535500"/>
            <a:chExt cx="1607104" cy="1285652"/>
          </a:xfrm>
        </p:grpSpPr>
        <p:sp>
          <p:nvSpPr>
            <p:cNvPr id="636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  <p:cNvSpPr>
              <a:spLocks noChangeArrowheads="1"/>
            </p:cNvSpPr>
            <p:nvPr/>
          </p:nvSpPr>
          <p:spPr bwMode="gray">
            <a:xfrm>
              <a:off x="4517075" y="2535500"/>
              <a:ext cx="1475296" cy="1206291"/>
            </a:xfrm>
            <a:prstGeom prst="rect">
              <a:avLst/>
            </a:prstGeom>
            <a:solidFill>
              <a:srgbClr val="FFFFFF">
                <a:alpha val="90000"/>
              </a:srgbClr>
            </a:solidFill>
            <a:ln w="6350" algn="ctr">
              <a:noFill/>
              <a:miter lim="800000"/>
              <a:headEnd/>
              <a:tailEnd/>
            </a:ln>
            <a:effectLst/>
            <a:extLst/>
          </p:spPr>
          <p:txBody>
            <a:bodyPr lIns="108000" tIns="72000" rIns="36000" bIns="18000"/>
            <a:lstStyle/>
            <a:p>
              <a:pPr eaLnBrk="0" hangingPunct="0"/>
              <a:r>
                <a:rPr lang="ru-RU" altLang="ja-JP" sz="1000">
                  <a:solidFill>
                    <a:schemeClr val="tx2"/>
                  </a:solidFill>
                  <a:cs typeface="Arial" pitchFamily="34" charset="0"/>
                </a:rPr>
                <a:t>Африка и Ближний восток</a:t>
              </a:r>
              <a:endParaRPr lang="en-US" altLang="ja-JP" sz="1000">
                <a:solidFill>
                  <a:srgbClr val="988DC3"/>
                </a:solidFill>
                <a:cs typeface="Arial" pitchFamily="34" charset="0"/>
              </a:endParaRPr>
            </a:p>
            <a:p>
              <a:pPr eaLnBrk="0" hangingPunct="0"/>
              <a:endParaRPr lang="en-US" altLang="ja-JP" sz="1000" b="1">
                <a:solidFill>
                  <a:srgbClr val="988DC3"/>
                </a:solidFill>
                <a:cs typeface="Arial" pitchFamily="34" charset="0"/>
              </a:endParaRPr>
            </a:p>
            <a:p>
              <a:pPr eaLnBrk="0" hangingPunct="0"/>
              <a:r>
                <a:rPr lang="en-US" altLang="ja-JP" sz="1000" b="1">
                  <a:cs typeface="Arial" pitchFamily="34" charset="0"/>
                </a:rPr>
                <a:t>250 </a:t>
              </a:r>
              <a:r>
                <a:rPr lang="ru-RU" altLang="ja-JP" sz="1000" b="1">
                  <a:cs typeface="Arial" pitchFamily="34" charset="0"/>
                </a:rPr>
                <a:t>клиентов</a:t>
              </a:r>
              <a:endParaRPr lang="en-US" altLang="ja-JP" sz="1000" b="1">
                <a:cs typeface="Arial" pitchFamily="34" charset="0"/>
              </a:endParaRPr>
            </a:p>
            <a:p>
              <a:pPr eaLnBrk="0" hangingPunct="0"/>
              <a:r>
                <a:rPr lang="en-US" altLang="ja-JP" sz="1000">
                  <a:cs typeface="Arial" pitchFamily="34" charset="0"/>
                </a:rPr>
                <a:t>[13%] </a:t>
              </a:r>
            </a:p>
          </p:txBody>
        </p:sp>
        <p:graphicFrame>
          <p:nvGraphicFramePr>
            <p:cNvPr id="2053" name="Chart 2023" descr="&lt;tags&gt;&lt;tag n=&quot;AppId&quot; v=&quot;1&quot; /&gt;&lt;tag n=&quot;Type&quot; v=&quot;0&quot; /&gt;&lt;tag n=&quot;TimeStamp&quot; v=&quot;2014-03-31 13:18:20&quot; /&gt;&lt;/tags&gt;"/>
            <p:cNvGraphicFramePr>
              <a:graphicFrameLocks/>
            </p:cNvGraphicFramePr>
            <p:nvPr/>
          </p:nvGraphicFramePr>
          <p:xfrm>
            <a:off x="4334467" y="3133405"/>
            <a:ext cx="915414" cy="7385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79" name="Chart" r:id="rId391" imgW="1066800" imgH="190590" progId="Excel.Sheet.8">
                    <p:embed/>
                  </p:oleObj>
                </mc:Choice>
                <mc:Fallback>
                  <p:oleObj name="Chart" r:id="rId391" imgW="1066800" imgH="190590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9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334467" y="3133405"/>
                          <a:ext cx="915414" cy="73854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2522" name="Group 2027"/>
          <p:cNvGrpSpPr>
            <a:grpSpLocks/>
          </p:cNvGrpSpPr>
          <p:nvPr/>
        </p:nvGrpSpPr>
        <p:grpSpPr bwMode="auto">
          <a:xfrm>
            <a:off x="3022600" y="1374775"/>
            <a:ext cx="1363663" cy="1304925"/>
            <a:chOff x="2968556" y="1572582"/>
            <a:chExt cx="1363961" cy="1304759"/>
          </a:xfrm>
        </p:grpSpPr>
        <p:sp>
          <p:nvSpPr>
            <p:cNvPr id="639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  <p:cNvSpPr>
              <a:spLocks noChangeArrowheads="1"/>
            </p:cNvSpPr>
            <p:nvPr/>
          </p:nvSpPr>
          <p:spPr bwMode="gray">
            <a:xfrm>
              <a:off x="3090821" y="1572582"/>
              <a:ext cx="1241696" cy="1206347"/>
            </a:xfrm>
            <a:prstGeom prst="rect">
              <a:avLst/>
            </a:prstGeom>
            <a:solidFill>
              <a:srgbClr val="FFFFFF">
                <a:alpha val="90000"/>
              </a:srgbClr>
            </a:solidFill>
            <a:ln w="6350" algn="ctr">
              <a:noFill/>
              <a:miter lim="800000"/>
              <a:headEnd/>
              <a:tailEnd/>
            </a:ln>
            <a:effectLst/>
            <a:extLst/>
          </p:spPr>
          <p:txBody>
            <a:bodyPr lIns="108000" tIns="72000" rIns="36000" bIns="18000"/>
            <a:lstStyle/>
            <a:p>
              <a:pPr eaLnBrk="0" hangingPunct="0"/>
              <a:r>
                <a:rPr lang="ru-RU" altLang="ja-JP" sz="1000">
                  <a:solidFill>
                    <a:schemeClr val="tx2"/>
                  </a:solidFill>
                  <a:cs typeface="Arial" pitchFamily="34" charset="0"/>
                </a:rPr>
                <a:t>Европа</a:t>
              </a:r>
              <a:endParaRPr lang="en-US" altLang="ja-JP" sz="1000">
                <a:solidFill>
                  <a:srgbClr val="988DC3"/>
                </a:solidFill>
                <a:cs typeface="Arial" pitchFamily="34" charset="0"/>
              </a:endParaRPr>
            </a:p>
            <a:p>
              <a:pPr eaLnBrk="0" hangingPunct="0"/>
              <a:endParaRPr lang="en-US" altLang="ja-JP" sz="1000" b="1">
                <a:solidFill>
                  <a:srgbClr val="988DC3"/>
                </a:solidFill>
                <a:cs typeface="Arial" pitchFamily="34" charset="0"/>
              </a:endParaRPr>
            </a:p>
            <a:p>
              <a:pPr eaLnBrk="0" hangingPunct="0"/>
              <a:r>
                <a:rPr lang="en-US" altLang="ja-JP" sz="1000" b="1">
                  <a:cs typeface="Arial" pitchFamily="34" charset="0"/>
                </a:rPr>
                <a:t>1,020 </a:t>
              </a:r>
              <a:r>
                <a:rPr lang="ru-RU" altLang="ja-JP" sz="1000" b="1">
                  <a:cs typeface="Arial" pitchFamily="34" charset="0"/>
                </a:rPr>
                <a:t>клиентов</a:t>
              </a:r>
              <a:endParaRPr lang="en-US" altLang="ja-JP" sz="1000" b="1">
                <a:cs typeface="Arial" pitchFamily="34" charset="0"/>
              </a:endParaRPr>
            </a:p>
            <a:p>
              <a:pPr eaLnBrk="0" hangingPunct="0"/>
              <a:r>
                <a:rPr lang="en-US" altLang="ja-JP" sz="1000">
                  <a:cs typeface="Arial" pitchFamily="34" charset="0"/>
                </a:rPr>
                <a:t>[51%] </a:t>
              </a:r>
            </a:p>
          </p:txBody>
        </p:sp>
        <p:graphicFrame>
          <p:nvGraphicFramePr>
            <p:cNvPr id="2052" name="Chart 2024" descr="&lt;tags&gt;&lt;tag n=&quot;AppId&quot; v=&quot;1&quot; /&gt;&lt;tag n=&quot;Type&quot; v=&quot;0&quot; /&gt;&lt;tag n=&quot;TimeStamp&quot; v=&quot;2014-03-31 13:18:20&quot; /&gt;&lt;/tags&gt;"/>
            <p:cNvGraphicFramePr>
              <a:graphicFrameLocks/>
            </p:cNvGraphicFramePr>
            <p:nvPr/>
          </p:nvGraphicFramePr>
          <p:xfrm>
            <a:off x="2917756" y="2189594"/>
            <a:ext cx="915414" cy="7385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0" name="Chart" r:id="rId394" imgW="1066800" imgH="190590" progId="Excel.Sheet.8">
                    <p:embed/>
                  </p:oleObj>
                </mc:Choice>
                <mc:Fallback>
                  <p:oleObj name="Chart" r:id="rId394" imgW="1066800" imgH="190590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9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17756" y="2189594"/>
                          <a:ext cx="915414" cy="73854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2523" name="Group 2029"/>
          <p:cNvGrpSpPr>
            <a:grpSpLocks/>
          </p:cNvGrpSpPr>
          <p:nvPr/>
        </p:nvGrpSpPr>
        <p:grpSpPr bwMode="auto">
          <a:xfrm>
            <a:off x="7159625" y="2079625"/>
            <a:ext cx="1390650" cy="1295400"/>
            <a:chOff x="6721214" y="2211396"/>
            <a:chExt cx="1389711" cy="1295252"/>
          </a:xfrm>
        </p:grpSpPr>
        <p:sp>
          <p:nvSpPr>
            <p:cNvPr id="642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  <p:cNvSpPr>
              <a:spLocks noChangeArrowheads="1"/>
            </p:cNvSpPr>
            <p:nvPr/>
          </p:nvSpPr>
          <p:spPr bwMode="gray">
            <a:xfrm>
              <a:off x="6868752" y="2211396"/>
              <a:ext cx="1242173" cy="1206362"/>
            </a:xfrm>
            <a:prstGeom prst="rect">
              <a:avLst/>
            </a:prstGeom>
            <a:solidFill>
              <a:srgbClr val="FFFFFF">
                <a:alpha val="90000"/>
              </a:srgbClr>
            </a:solidFill>
            <a:ln w="6350" algn="ctr">
              <a:noFill/>
              <a:miter lim="800000"/>
              <a:headEnd/>
              <a:tailEnd/>
            </a:ln>
            <a:effectLst/>
            <a:extLst/>
          </p:spPr>
          <p:txBody>
            <a:bodyPr lIns="108000" tIns="72000" rIns="36000" bIns="18000"/>
            <a:lstStyle/>
            <a:p>
              <a:pPr eaLnBrk="0" hangingPunct="0"/>
              <a:r>
                <a:rPr lang="ru-RU" altLang="ja-JP" sz="1000">
                  <a:solidFill>
                    <a:schemeClr val="tx2"/>
                  </a:solidFill>
                  <a:cs typeface="Arial" pitchFamily="34" charset="0"/>
                </a:rPr>
                <a:t>Азия</a:t>
              </a:r>
              <a:endParaRPr lang="en-US" altLang="ja-JP" sz="1000">
                <a:solidFill>
                  <a:schemeClr val="tx2"/>
                </a:solidFill>
                <a:cs typeface="Arial" pitchFamily="34" charset="0"/>
              </a:endParaRPr>
            </a:p>
            <a:p>
              <a:pPr eaLnBrk="0" hangingPunct="0"/>
              <a:endParaRPr lang="en-US" altLang="ja-JP" sz="1000" b="1">
                <a:solidFill>
                  <a:srgbClr val="988DC3"/>
                </a:solidFill>
                <a:cs typeface="Arial" pitchFamily="34" charset="0"/>
              </a:endParaRPr>
            </a:p>
            <a:p>
              <a:pPr eaLnBrk="0" hangingPunct="0"/>
              <a:r>
                <a:rPr lang="en-US" altLang="ja-JP" sz="1000" b="1">
                  <a:cs typeface="Arial" pitchFamily="34" charset="0"/>
                </a:rPr>
                <a:t>430 </a:t>
              </a:r>
              <a:r>
                <a:rPr lang="ru-RU" altLang="ja-JP" sz="1000" b="1">
                  <a:cs typeface="Arial" pitchFamily="34" charset="0"/>
                </a:rPr>
                <a:t>клиентов</a:t>
              </a:r>
              <a:endParaRPr lang="en-US" altLang="ja-JP" sz="1000" b="1">
                <a:cs typeface="Arial" pitchFamily="34" charset="0"/>
              </a:endParaRPr>
            </a:p>
            <a:p>
              <a:pPr eaLnBrk="0" hangingPunct="0"/>
              <a:r>
                <a:rPr lang="en-US" altLang="ja-JP" sz="1000">
                  <a:cs typeface="Arial" pitchFamily="34" charset="0"/>
                </a:rPr>
                <a:t>[21%]</a:t>
              </a:r>
            </a:p>
          </p:txBody>
        </p:sp>
        <p:graphicFrame>
          <p:nvGraphicFramePr>
            <p:cNvPr id="2524" name="Chart 2025" descr="&lt;tags&gt;&lt;tag n=&quot;AppId&quot; v=&quot;1&quot; /&gt;&lt;tag n=&quot;Type&quot; v=&quot;0&quot; /&gt;&lt;tag n=&quot;TimeStamp&quot; v=&quot;2014-03-31 13:18:20&quot; /&gt;&lt;/tags&gt;"/>
            <p:cNvGraphicFramePr>
              <a:graphicFrameLocks/>
            </p:cNvGraphicFramePr>
            <p:nvPr/>
          </p:nvGraphicFramePr>
          <p:xfrm>
            <a:off x="6670414" y="2818901"/>
            <a:ext cx="915414" cy="7385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81" r:id="rId397" imgW="914324" imgH="737555" progId="Excel.Sheet.8">
                    <p:embed/>
                  </p:oleObj>
                </mc:Choice>
                <mc:Fallback>
                  <p:oleObj r:id="rId397" imgW="914324" imgH="737555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9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670414" y="2818901"/>
                          <a:ext cx="915414" cy="73854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572" name="MessageStatement" descr="&lt;tags&gt;&lt;tag n=&quot;TagName&quot; v=&quot;MessageStatement&quot; /&gt;&lt;tag n=&quot;Top&quot; v=&quot;451.25&quot; /&gt;&lt;tag n=&quot;Left&quot; v=&quot;35.75&quot; /&gt;&lt;tag n=&quot;Height&quot; v=&quot;23.62504&quot; /&gt;&lt;tag n=&quot;Width&quot; v=&quot;648.5&quot; /&gt;&lt;/tags&gt;"/>
          <p:cNvSpPr>
            <a:spLocks noChangeArrowheads="1"/>
          </p:cNvSpPr>
          <p:nvPr/>
        </p:nvSpPr>
        <p:spPr bwMode="gray">
          <a:xfrm>
            <a:off x="4979988" y="890588"/>
            <a:ext cx="1009650" cy="681037"/>
          </a:xfrm>
          <a:prstGeom prst="rect">
            <a:avLst/>
          </a:prstGeom>
          <a:solidFill>
            <a:srgbClr val="FFFFFF">
              <a:alpha val="90000"/>
            </a:srgbClr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lIns="108000" tIns="72000" rIns="36000" bIns="18000"/>
          <a:lstStyle/>
          <a:p>
            <a:pPr eaLnBrk="0" hangingPunct="0"/>
            <a:r>
              <a:rPr lang="ru-RU" altLang="ja-JP" sz="1000">
                <a:solidFill>
                  <a:schemeClr val="tx2"/>
                </a:solidFill>
                <a:cs typeface="Arial" pitchFamily="34" charset="0"/>
              </a:rPr>
              <a:t>Россия </a:t>
            </a:r>
            <a:r>
              <a:rPr lang="en-US" altLang="ja-JP" sz="1000">
                <a:solidFill>
                  <a:schemeClr val="tx2"/>
                </a:solidFill>
                <a:cs typeface="Arial" pitchFamily="34" charset="0"/>
              </a:rPr>
              <a:t>/ </a:t>
            </a:r>
            <a:r>
              <a:rPr lang="ru-RU" altLang="ja-JP" sz="1000">
                <a:solidFill>
                  <a:schemeClr val="tx2"/>
                </a:solidFill>
                <a:cs typeface="Arial" pitchFamily="34" charset="0"/>
              </a:rPr>
              <a:t>СНГ</a:t>
            </a:r>
            <a:endParaRPr lang="en-US" altLang="ja-JP" sz="1000">
              <a:solidFill>
                <a:srgbClr val="988DC3"/>
              </a:solidFill>
              <a:cs typeface="Arial" pitchFamily="34" charset="0"/>
            </a:endParaRPr>
          </a:p>
          <a:p>
            <a:pPr eaLnBrk="0" hangingPunct="0"/>
            <a:endParaRPr lang="ru-RU" altLang="ja-JP" sz="1000" b="1">
              <a:cs typeface="Arial" pitchFamily="34" charset="0"/>
            </a:endParaRPr>
          </a:p>
          <a:p>
            <a:pPr eaLnBrk="0" hangingPunct="0"/>
            <a:r>
              <a:rPr lang="ru-RU" altLang="ja-JP" sz="1000" b="1">
                <a:cs typeface="Arial" pitchFamily="34" charset="0"/>
              </a:rPr>
              <a:t>Более 40</a:t>
            </a:r>
            <a:r>
              <a:rPr lang="en-US" altLang="ja-JP" sz="1000" b="1">
                <a:cs typeface="Arial" pitchFamily="34" charset="0"/>
              </a:rPr>
              <a:t> </a:t>
            </a:r>
            <a:r>
              <a:rPr lang="ru-RU" altLang="ja-JP" sz="1000" b="1">
                <a:cs typeface="Arial" pitchFamily="34" charset="0"/>
              </a:rPr>
              <a:t>клиентов</a:t>
            </a:r>
            <a:endParaRPr lang="en-US" altLang="ja-JP" sz="1000" b="1">
              <a:cs typeface="Arial" pitchFamily="34" charset="0"/>
            </a:endParaRPr>
          </a:p>
          <a:p>
            <a:pPr eaLnBrk="0" hangingPunct="0"/>
            <a:r>
              <a:rPr lang="en-US" altLang="ja-JP" sz="1000"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9893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402249" y="763190"/>
            <a:ext cx="8286750" cy="138945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Признание </a:t>
            </a:r>
            <a:r>
              <a:rPr lang="en-GB" sz="2000" b="1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MISYS</a:t>
            </a:r>
            <a:r>
              <a:rPr lang="en-GB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и</a:t>
            </a:r>
            <a:r>
              <a:rPr lang="en-GB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решения </a:t>
            </a:r>
            <a:r>
              <a:rPr lang="en-GB" sz="2000" b="1" dirty="0" err="1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FusionRisk</a:t>
            </a:r>
            <a:r>
              <a:rPr lang="en-GB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в </a:t>
            </a:r>
            <a:r>
              <a:rPr lang="ru-RU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мире </a:t>
            </a: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подтверждается </a:t>
            </a:r>
            <a:r>
              <a:rPr lang="en-GB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62 </a:t>
            </a:r>
            <a:r>
              <a:rPr lang="ru-RU" sz="2000" dirty="0" smtClean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наградами за </a:t>
            </a:r>
            <a:r>
              <a:rPr lang="ru-RU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последние </a:t>
            </a:r>
            <a:r>
              <a:rPr lang="en-GB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три года, в том числе</a:t>
            </a:r>
            <a:r>
              <a:rPr lang="en-GB" sz="2000" dirty="0">
                <a:solidFill>
                  <a:srgbClr val="414141"/>
                </a:solidFill>
                <a:latin typeface="+mj-lt"/>
                <a:ea typeface="+mj-ea"/>
                <a:cs typeface="+mj-cs"/>
              </a:rPr>
              <a:t>: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704" y="3873346"/>
            <a:ext cx="522586" cy="64348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196" y="3990344"/>
            <a:ext cx="1212868" cy="4094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01" y="3968406"/>
            <a:ext cx="971075" cy="45336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095" y="3934767"/>
            <a:ext cx="694188" cy="52064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930" y="3918683"/>
            <a:ext cx="764380" cy="55281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190" y="3981569"/>
            <a:ext cx="967176" cy="42703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337" y="3928920"/>
            <a:ext cx="889177" cy="53233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4813" y="3904368"/>
            <a:ext cx="809732" cy="55061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685" y="3915670"/>
            <a:ext cx="721554" cy="55883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130" t="4140" r="4502" b="6872"/>
          <a:stretch/>
        </p:blipFill>
        <p:spPr>
          <a:xfrm>
            <a:off x="4644860" y="3216427"/>
            <a:ext cx="803297" cy="35915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7077" y="3262071"/>
            <a:ext cx="1092745" cy="32509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656" y="3186878"/>
            <a:ext cx="910624" cy="39065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862" b="34069"/>
          <a:stretch/>
        </p:blipFill>
        <p:spPr>
          <a:xfrm>
            <a:off x="5467559" y="3175615"/>
            <a:ext cx="2475489" cy="446981"/>
          </a:xfrm>
          <a:prstGeom prst="rect">
            <a:avLst/>
          </a:prstGeom>
        </p:spPr>
      </p:pic>
      <p:grpSp>
        <p:nvGrpSpPr>
          <p:cNvPr id="5" name="Group 56"/>
          <p:cNvGrpSpPr/>
          <p:nvPr/>
        </p:nvGrpSpPr>
        <p:grpSpPr>
          <a:xfrm>
            <a:off x="7395927" y="4717849"/>
            <a:ext cx="1296861" cy="424238"/>
            <a:chOff x="7416927" y="6299030"/>
            <a:chExt cx="1296861" cy="565651"/>
          </a:xfrm>
        </p:grpSpPr>
        <p:sp>
          <p:nvSpPr>
            <p:cNvPr id="58" name="Slide Number Placeholder 8"/>
            <p:cNvSpPr txBox="1">
              <a:spLocks/>
            </p:cNvSpPr>
            <p:nvPr/>
          </p:nvSpPr>
          <p:spPr>
            <a:xfrm>
              <a:off x="8425598" y="6299030"/>
              <a:ext cx="288190" cy="360000"/>
            </a:xfrm>
            <a:prstGeom prst="rect">
              <a:avLst/>
            </a:prstGeom>
          </p:spPr>
          <p:txBody>
            <a:bodyPr wrap="none" lIns="0" tIns="0" rIns="0" bIns="0" anchor="b"/>
            <a:lstStyle>
              <a:defPPr>
                <a:defRPr lang="en-US"/>
              </a:defPPr>
              <a:lvl1pPr algn="r" defTabSz="457200" rtl="0" fontAlgn="base">
                <a:spcBef>
                  <a:spcPct val="0"/>
                </a:spcBef>
                <a:spcAft>
                  <a:spcPct val="0"/>
                </a:spcAft>
                <a:defRPr sz="1050" b="1" kern="120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fld id="{311E2DBB-A431-4BD1-821A-C44994461EF2}" type="slidenum">
                <a:rPr lang="en-GB" sz="1400" b="0" smtClean="0">
                  <a:solidFill>
                    <a:srgbClr val="00338D"/>
                  </a:solidFill>
                  <a:latin typeface="Arial Narrow" pitchFamily="34" charset="0"/>
                  <a:cs typeface="Aharoni" pitchFamily="2" charset="-79"/>
                </a:rPr>
                <a:pPr>
                  <a:defRPr/>
                </a:pPr>
                <a:t>24</a:t>
              </a:fld>
              <a:endParaRPr lang="en-GB" sz="1400" b="0" dirty="0">
                <a:solidFill>
                  <a:srgbClr val="00338D"/>
                </a:solidFill>
                <a:latin typeface="Arial Narrow" pitchFamily="34" charset="0"/>
                <a:cs typeface="Aharoni" pitchFamily="2" charset="-79"/>
              </a:endParaRPr>
            </a:p>
          </p:txBody>
        </p:sp>
        <p:pic>
          <p:nvPicPr>
            <p:cNvPr id="59" name="Picture 2" descr="C:\Users\jthurbur\Desktop\9453_Misys current Corporate Deck\Links\MisysLogoFinalCMYK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6927" y="6455465"/>
              <a:ext cx="884397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0" name="Straight Connector 59"/>
            <p:cNvCxnSpPr/>
            <p:nvPr/>
          </p:nvCxnSpPr>
          <p:spPr>
            <a:xfrm>
              <a:off x="8403352" y="6336461"/>
              <a:ext cx="0" cy="5282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464" y="3220698"/>
            <a:ext cx="804462" cy="349958"/>
          </a:xfrm>
          <a:prstGeom prst="rect">
            <a:avLst/>
          </a:prstGeom>
        </p:spPr>
      </p:pic>
      <p:grpSp>
        <p:nvGrpSpPr>
          <p:cNvPr id="7" name="Group 12"/>
          <p:cNvGrpSpPr/>
          <p:nvPr/>
        </p:nvGrpSpPr>
        <p:grpSpPr>
          <a:xfrm>
            <a:off x="410725" y="2347949"/>
            <a:ext cx="8303064" cy="2202143"/>
            <a:chOff x="410725" y="2473062"/>
            <a:chExt cx="8303064" cy="2936191"/>
          </a:xfrm>
        </p:grpSpPr>
        <p:grpSp>
          <p:nvGrpSpPr>
            <p:cNvPr id="12" name="Group 11"/>
            <p:cNvGrpSpPr/>
            <p:nvPr/>
          </p:nvGrpSpPr>
          <p:grpSpPr>
            <a:xfrm>
              <a:off x="410725" y="2473062"/>
              <a:ext cx="8303064" cy="1856053"/>
              <a:chOff x="410725" y="2473062"/>
              <a:chExt cx="8303064" cy="1856053"/>
            </a:xfrm>
          </p:grpSpPr>
          <p:cxnSp>
            <p:nvCxnSpPr>
              <p:cNvPr id="32" name="Straight Connector 31"/>
              <p:cNvCxnSpPr/>
              <p:nvPr/>
            </p:nvCxnSpPr>
            <p:spPr>
              <a:xfrm flipH="1">
                <a:off x="410725" y="4329115"/>
                <a:ext cx="8303064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/>
            </p:nvCxnSpPr>
            <p:spPr>
              <a:xfrm flipH="1">
                <a:off x="410725" y="2473062"/>
                <a:ext cx="8303064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prstDash val="solid"/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 flipH="1">
                <a:off x="410725" y="3442528"/>
                <a:ext cx="8303064" cy="0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prstDash val="sysDash"/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</p:grpSp>
        <p:cxnSp>
          <p:nvCxnSpPr>
            <p:cNvPr id="34" name="Straight Connector 33"/>
            <p:cNvCxnSpPr/>
            <p:nvPr/>
          </p:nvCxnSpPr>
          <p:spPr>
            <a:xfrm flipH="1">
              <a:off x="410725" y="5409253"/>
              <a:ext cx="8303064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398" t="24708" r="23796" b="29306"/>
          <a:stretch/>
        </p:blipFill>
        <p:spPr>
          <a:xfrm>
            <a:off x="1577011" y="2510820"/>
            <a:ext cx="927826" cy="39119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49" y="3177976"/>
            <a:ext cx="640535" cy="480401"/>
          </a:xfrm>
          <a:prstGeom prst="rect">
            <a:avLst/>
          </a:prstGeom>
        </p:spPr>
      </p:pic>
      <p:pic>
        <p:nvPicPr>
          <p:cNvPr id="1026" name="Picture 2" descr="C:\Users\jthurbur\Desktop\2013_FSTech_logo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08" y="2510934"/>
            <a:ext cx="963829" cy="390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jthurbur\Desktop\2013_The_Asian_Banker Technology_Implementation_logo.pn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613" y="2532984"/>
            <a:ext cx="2233577" cy="34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C:\Users\yshevchu\Documents\__MISYS\BrandStudio\Misys Award Logos\2013_Risk_Technology_Rank_logo.pn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293" y="2406650"/>
            <a:ext cx="766763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3" descr="C:\Users\ebehrend\AppData\Local\Temp\Temp1_Risk_Technology_2014.zip\Risk_Tech_2014.gif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283" y="2433452"/>
            <a:ext cx="629881" cy="44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2" descr="Asia Risk Technology 2013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9124" y="2434014"/>
            <a:ext cx="1200230" cy="4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292" y="3092278"/>
            <a:ext cx="1108774" cy="664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7675448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6" presetClass="entr" presetSubtype="16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ntr" presetSubtype="16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" presetClass="entr" presetSubtype="16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8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8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7550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0" y="2299383"/>
            <a:ext cx="8660175" cy="893046"/>
          </a:xfrm>
        </p:spPr>
        <p:txBody>
          <a:bodyPr/>
          <a:lstStyle/>
          <a:p>
            <a:r>
              <a:rPr lang="ru-RU" sz="2400" dirty="0" smtClean="0"/>
              <a:t>Яркий пример внедрения стандартов </a:t>
            </a:r>
            <a:r>
              <a:rPr lang="en-US" sz="2400" dirty="0" smtClean="0"/>
              <a:t>Basel II/III </a:t>
            </a:r>
            <a:r>
              <a:rPr lang="ru-RU" sz="2400" dirty="0" smtClean="0"/>
              <a:t>в России -  функционал </a:t>
            </a:r>
            <a:r>
              <a:rPr lang="en-GB" sz="2400" b="1" dirty="0" smtClean="0"/>
              <a:t>MISYS Fusion Risk</a:t>
            </a:r>
            <a:r>
              <a:rPr lang="en-GB" sz="2400" dirty="0" smtClean="0"/>
              <a:t> </a:t>
            </a:r>
            <a:r>
              <a:rPr lang="ru-RU" sz="2400" dirty="0" smtClean="0"/>
              <a:t>для расчета Показателя Краткосрочной Ликвидности ПКЛ (</a:t>
            </a:r>
            <a:r>
              <a:rPr lang="en-GB" sz="2400" dirty="0" smtClean="0"/>
              <a:t>aka</a:t>
            </a:r>
            <a:r>
              <a:rPr lang="en-GB" sz="2400" dirty="0"/>
              <a:t> </a:t>
            </a:r>
            <a:r>
              <a:rPr lang="en-GB" sz="2400" dirty="0" smtClean="0"/>
              <a:t>LCR</a:t>
            </a:r>
            <a:r>
              <a:rPr lang="ru-RU" sz="2400" dirty="0" smtClean="0"/>
              <a:t>)</a:t>
            </a:r>
            <a:r>
              <a:rPr lang="en-GB" sz="2400" dirty="0" smtClean="0"/>
              <a:t> </a:t>
            </a:r>
            <a:r>
              <a:rPr lang="en-GB" sz="2400" dirty="0"/>
              <a:t/>
            </a:r>
            <a:br>
              <a:rPr lang="en-GB" sz="2400" dirty="0"/>
            </a:br>
            <a:endParaRPr lang="en-GB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48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xplosion 2 5"/>
          <p:cNvSpPr/>
          <p:nvPr/>
        </p:nvSpPr>
        <p:spPr>
          <a:xfrm>
            <a:off x="5448300" y="856006"/>
            <a:ext cx="1971675" cy="982319"/>
          </a:xfrm>
          <a:prstGeom prst="irregularSeal2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33000">
                <a:schemeClr val="accent5">
                  <a:lumMod val="20000"/>
                  <a:lumOff val="80000"/>
                </a:schemeClr>
              </a:gs>
              <a:gs pos="46750">
                <a:schemeClr val="bg2"/>
              </a:gs>
              <a:gs pos="53000">
                <a:schemeClr val="bg2"/>
              </a:gs>
              <a:gs pos="68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8350000" scaled="1"/>
          </a:gradFill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20798250">
            <a:off x="5913076" y="1267339"/>
            <a:ext cx="973499" cy="253658"/>
          </a:xfrm>
          <a:prstGeom prst="rect">
            <a:avLst/>
          </a:prstGeom>
        </p:spPr>
        <p:txBody>
          <a:bodyPr/>
          <a:lstStyle/>
          <a:p>
            <a:pPr indent="0">
              <a:buNone/>
            </a:pPr>
            <a:r>
              <a:rPr lang="ru-RU" sz="1400" b="1" dirty="0" smtClean="0">
                <a:solidFill>
                  <a:srgbClr val="C00000"/>
                </a:solidFill>
              </a:rPr>
              <a:t>1 окт 2015 </a:t>
            </a:r>
            <a:endParaRPr lang="en-GB" sz="1200" b="1" dirty="0">
              <a:solidFill>
                <a:srgbClr val="C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r>
              <a:rPr lang="ru-RU" sz="1800" dirty="0" smtClean="0"/>
              <a:t>ПКЛ – пруденциальный норматив для системно-значимых банков </a:t>
            </a:r>
            <a:endParaRPr lang="en-GB" sz="1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© Misys</a:t>
            </a:r>
            <a:endParaRPr lang="en-GB" baseline="30000" dirty="0" smtClean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t>4 September, 2015</a:t>
            </a:fld>
            <a:endParaRPr lang="en-GB" dirty="0"/>
          </a:p>
        </p:txBody>
      </p:sp>
      <p:sp>
        <p:nvSpPr>
          <p:cNvPr id="8" name="Slide Number Placeholder 3"/>
          <p:cNvSpPr txBox="1">
            <a:spLocks/>
          </p:cNvSpPr>
          <p:nvPr/>
        </p:nvSpPr>
        <p:spPr>
          <a:xfrm>
            <a:off x="8519738" y="4855500"/>
            <a:ext cx="261457" cy="216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2C15F2-42FE-A944-9743-3E35339DA74A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457201" y="251934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1" y="2047858"/>
            <a:ext cx="7886700" cy="942975"/>
          </a:xfrm>
          <a:prstGeom prst="rect">
            <a:avLst/>
          </a:prstGeom>
          <a:noFill/>
          <a:ln w="9525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57200" y="952498"/>
            <a:ext cx="3581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u="sng" dirty="0" smtClean="0"/>
              <a:t>ЦБ РФ, 15 июля 2015 г</a:t>
            </a:r>
            <a:r>
              <a:rPr lang="en-GB" sz="1200" b="1" u="sng" dirty="0" smtClean="0"/>
              <a:t>: </a:t>
            </a:r>
          </a:p>
          <a:p>
            <a:endParaRPr lang="en-GB" sz="1200" dirty="0" smtClean="0"/>
          </a:p>
          <a:p>
            <a:r>
              <a:rPr lang="en-GB" sz="1200" dirty="0" smtClean="0"/>
              <a:t>“</a:t>
            </a:r>
            <a:r>
              <a:rPr lang="ru-RU" sz="1200" dirty="0" smtClean="0"/>
              <a:t>О </a:t>
            </a:r>
            <a:r>
              <a:rPr lang="ru-RU" sz="1200" dirty="0"/>
              <a:t>мерах по реализации Базеля III и о регулировании деятельности системно значимых </a:t>
            </a:r>
            <a:r>
              <a:rPr lang="ru-RU" sz="1200" dirty="0" smtClean="0"/>
              <a:t>банков</a:t>
            </a:r>
            <a:r>
              <a:rPr lang="en-GB" sz="1200" dirty="0" smtClean="0"/>
              <a:t>” :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457201" y="3190874"/>
            <a:ext cx="7886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Следующий шаг</a:t>
            </a:r>
            <a:r>
              <a:rPr lang="en-GB" sz="1100" dirty="0" smtClean="0"/>
              <a:t>: </a:t>
            </a:r>
            <a:r>
              <a:rPr lang="ru-RU" sz="1100" dirty="0"/>
              <a:t>внедрение надбавки для </a:t>
            </a:r>
            <a:r>
              <a:rPr lang="ru-RU" sz="1100" dirty="0" smtClean="0"/>
              <a:t>поддержания </a:t>
            </a:r>
            <a:r>
              <a:rPr lang="ru-RU" sz="1100" dirty="0"/>
              <a:t>достаточности капитала (capital conservation buffer) определение </a:t>
            </a:r>
            <a:r>
              <a:rPr lang="ru-RU" sz="1100" dirty="0" smtClean="0"/>
              <a:t>размера и порядка применения антициклической </a:t>
            </a:r>
            <a:r>
              <a:rPr lang="ru-RU" sz="1100" dirty="0"/>
              <a:t>надбавки (</a:t>
            </a:r>
            <a:r>
              <a:rPr lang="en-US" sz="1100" dirty="0"/>
              <a:t>countercyclical buffer) </a:t>
            </a:r>
            <a:r>
              <a:rPr lang="en-GB" sz="1100" dirty="0" smtClean="0"/>
              <a:t>  </a:t>
            </a:r>
            <a:endParaRPr lang="en-US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549566" y="4027285"/>
            <a:ext cx="6998064" cy="32308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200" b="1" dirty="0" smtClean="0">
                <a:solidFill>
                  <a:srgbClr val="E94952"/>
                </a:solidFill>
              </a:rPr>
              <a:t>ЦБ формулирует задачу</a:t>
            </a:r>
            <a:r>
              <a:rPr lang="en-GB" sz="1200" b="1" dirty="0" smtClean="0">
                <a:solidFill>
                  <a:srgbClr val="E94952"/>
                </a:solidFill>
              </a:rPr>
              <a:t>: </a:t>
            </a:r>
            <a:r>
              <a:rPr lang="ru-RU" sz="1200" b="1" dirty="0" smtClean="0">
                <a:solidFill>
                  <a:srgbClr val="E94952"/>
                </a:solidFill>
              </a:rPr>
              <a:t>приближение к международным стандартам (</a:t>
            </a:r>
            <a:r>
              <a:rPr lang="en-GB" sz="1200" b="1" dirty="0" smtClean="0">
                <a:solidFill>
                  <a:srgbClr val="E94952"/>
                </a:solidFill>
              </a:rPr>
              <a:t>LCR)</a:t>
            </a:r>
            <a:endParaRPr lang="en-GB" sz="1200" b="1" dirty="0">
              <a:solidFill>
                <a:srgbClr val="E94952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554177" y="3994341"/>
            <a:ext cx="7499362" cy="361737"/>
            <a:chOff x="363538" y="1082524"/>
            <a:chExt cx="2400300" cy="719666"/>
          </a:xfrm>
        </p:grpSpPr>
        <p:grpSp>
          <p:nvGrpSpPr>
            <p:cNvPr id="28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30" name="Straight Connector 29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9" name="Straight Connector 28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2651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420287"/>
            <a:ext cx="5009442" cy="3542893"/>
          </a:xfrm>
        </p:spPr>
        <p:txBody>
          <a:bodyPr/>
          <a:lstStyle/>
          <a:p>
            <a:pPr marL="360363" indent="-179388"/>
            <a:r>
              <a:rPr lang="ru-RU" dirty="0" smtClean="0"/>
              <a:t>Классификация и мониторинг высоколиквидных активов</a:t>
            </a:r>
            <a:endParaRPr lang="en-GB" dirty="0" smtClean="0"/>
          </a:p>
          <a:p>
            <a:pPr marL="180975" indent="0">
              <a:buNone/>
            </a:pPr>
            <a:endParaRPr lang="en-GB" dirty="0" smtClean="0"/>
          </a:p>
          <a:p>
            <a:pPr marL="360363" indent="-179388"/>
            <a:r>
              <a:rPr lang="ru-RU" dirty="0" smtClean="0"/>
              <a:t>Обеспечение наличия всех необходимых для расчета ПКЛ признаков активов и обязательств</a:t>
            </a:r>
            <a:endParaRPr lang="en-GB" dirty="0" smtClean="0"/>
          </a:p>
          <a:p>
            <a:pPr marL="360363" indent="-179388"/>
            <a:endParaRPr lang="en-GB" dirty="0" smtClean="0"/>
          </a:p>
          <a:p>
            <a:pPr marL="360363" indent="-179388"/>
            <a:r>
              <a:rPr lang="ru-RU" dirty="0" smtClean="0">
                <a:solidFill>
                  <a:srgbClr val="FF0000"/>
                </a:solidFill>
              </a:rPr>
              <a:t>Управление входящими в расчет ПКЛ потоками для получения требуемых регулятором значений</a:t>
            </a:r>
            <a:endParaRPr lang="en-GB" dirty="0" smtClean="0">
              <a:solidFill>
                <a:srgbClr val="FF0000"/>
              </a:solidFill>
            </a:endParaRPr>
          </a:p>
          <a:p>
            <a:pPr marL="180975" indent="0">
              <a:buNone/>
            </a:pPr>
            <a:endParaRPr lang="en-GB" dirty="0"/>
          </a:p>
          <a:p>
            <a:pPr marL="360363" indent="-179388"/>
            <a:r>
              <a:rPr lang="ru-RU" dirty="0" smtClean="0"/>
              <a:t>Внедрение необходимо провести в кратчайшие сроки </a:t>
            </a:r>
            <a:r>
              <a:rPr lang="en-GB" dirty="0" smtClean="0"/>
              <a:t> </a:t>
            </a:r>
            <a:br>
              <a:rPr lang="en-GB" dirty="0" smtClean="0"/>
            </a:br>
            <a:endParaRPr lang="en-GB" dirty="0" smtClean="0"/>
          </a:p>
          <a:p>
            <a:pPr marL="360363" indent="-179388"/>
            <a:endParaRPr lang="en-GB" dirty="0" smtClean="0"/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щепринятая практика расчета и мониторинга</a:t>
            </a:r>
            <a:r>
              <a:rPr lang="en-GB" dirty="0" smtClean="0"/>
              <a:t> LCR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7" name="Right Arrow 6"/>
          <p:cNvSpPr/>
          <p:nvPr/>
        </p:nvSpPr>
        <p:spPr>
          <a:xfrm>
            <a:off x="5390707" y="1680793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5963181" y="1442774"/>
            <a:ext cx="2242986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200" b="1" dirty="0" smtClean="0">
                <a:solidFill>
                  <a:srgbClr val="E94952"/>
                </a:solidFill>
              </a:rPr>
              <a:t>Источники информации об активах фрагментиро</a:t>
            </a:r>
            <a:r>
              <a:rPr lang="ru-RU" sz="1200" b="1" dirty="0">
                <a:solidFill>
                  <a:srgbClr val="E94952"/>
                </a:solidFill>
              </a:rPr>
              <a:t>в</a:t>
            </a:r>
            <a:r>
              <a:rPr lang="ru-RU" sz="1200" b="1" dirty="0" smtClean="0">
                <a:solidFill>
                  <a:srgbClr val="E94952"/>
                </a:solidFill>
              </a:rPr>
              <a:t>аны</a:t>
            </a:r>
            <a:endParaRPr lang="en-GB" sz="1200" b="1" dirty="0">
              <a:solidFill>
                <a:srgbClr val="E94952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967792" y="1409830"/>
            <a:ext cx="2400300" cy="719666"/>
            <a:chOff x="363538" y="1082524"/>
            <a:chExt cx="2400300" cy="719666"/>
          </a:xfrm>
        </p:grpSpPr>
        <p:grpSp>
          <p:nvGrpSpPr>
            <p:cNvPr id="10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12" name="Straight Connector 11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" name="Straight Connector 10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4" name="Right Arrow 13"/>
          <p:cNvSpPr/>
          <p:nvPr/>
        </p:nvSpPr>
        <p:spPr>
          <a:xfrm>
            <a:off x="5390707" y="2444405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5963181" y="2206386"/>
            <a:ext cx="2242986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200" b="1" dirty="0" smtClean="0">
                <a:solidFill>
                  <a:srgbClr val="E94952"/>
                </a:solidFill>
              </a:rPr>
              <a:t>Объемная аналитическая задача</a:t>
            </a:r>
            <a:endParaRPr lang="en-GB" sz="1200" b="1" dirty="0">
              <a:solidFill>
                <a:srgbClr val="E94952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967792" y="2173442"/>
            <a:ext cx="2400300" cy="719666"/>
            <a:chOff x="363538" y="1082524"/>
            <a:chExt cx="2400300" cy="719666"/>
          </a:xfrm>
        </p:grpSpPr>
        <p:grpSp>
          <p:nvGrpSpPr>
            <p:cNvPr id="17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19" name="Straight Connector 18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Straight Connector 17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1" name="Right Arrow 20"/>
          <p:cNvSpPr/>
          <p:nvPr/>
        </p:nvSpPr>
        <p:spPr>
          <a:xfrm>
            <a:off x="5390707" y="3300493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/>
          <p:cNvSpPr txBox="1"/>
          <p:nvPr/>
        </p:nvSpPr>
        <p:spPr>
          <a:xfrm>
            <a:off x="5963181" y="3062474"/>
            <a:ext cx="2242986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200" b="1" dirty="0" smtClean="0">
                <a:solidFill>
                  <a:srgbClr val="E94952"/>
                </a:solidFill>
              </a:rPr>
              <a:t>Мониторинг ПКЛ необходимо начать заранее</a:t>
            </a:r>
            <a:endParaRPr lang="en-GB" sz="1200" b="1" dirty="0">
              <a:solidFill>
                <a:srgbClr val="E94952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967792" y="3029530"/>
            <a:ext cx="2400300" cy="719666"/>
            <a:chOff x="363538" y="1082524"/>
            <a:chExt cx="2400300" cy="719666"/>
          </a:xfrm>
        </p:grpSpPr>
        <p:grpSp>
          <p:nvGrpSpPr>
            <p:cNvPr id="24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26" name="Straight Connector 25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Connector 24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8" name="Right Arrow 27"/>
          <p:cNvSpPr/>
          <p:nvPr/>
        </p:nvSpPr>
        <p:spPr>
          <a:xfrm>
            <a:off x="5386096" y="4207741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Box 28"/>
          <p:cNvSpPr txBox="1"/>
          <p:nvPr/>
        </p:nvSpPr>
        <p:spPr>
          <a:xfrm>
            <a:off x="5958570" y="3969722"/>
            <a:ext cx="2242986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200" b="1" dirty="0" smtClean="0">
                <a:solidFill>
                  <a:srgbClr val="E94952"/>
                </a:solidFill>
              </a:rPr>
              <a:t>Проектные риски при внедрении решения, не подтвержденного практикой</a:t>
            </a:r>
            <a:endParaRPr lang="en-GB" sz="1200" b="1" dirty="0">
              <a:solidFill>
                <a:srgbClr val="E94952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5963181" y="3936778"/>
            <a:ext cx="2400300" cy="719666"/>
            <a:chOff x="363538" y="1082524"/>
            <a:chExt cx="2400300" cy="719666"/>
          </a:xfrm>
        </p:grpSpPr>
        <p:grpSp>
          <p:nvGrpSpPr>
            <p:cNvPr id="31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33" name="Straight Connector 32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Connector 31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6" name="Rectangle 35"/>
          <p:cNvSpPr/>
          <p:nvPr/>
        </p:nvSpPr>
        <p:spPr>
          <a:xfrm>
            <a:off x="3384013" y="902495"/>
            <a:ext cx="4903116" cy="371803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Основные сложности  расчета </a:t>
            </a:r>
            <a:r>
              <a:rPr lang="en-GB" sz="1200" b="1" dirty="0" smtClean="0"/>
              <a:t>LCR:</a:t>
            </a:r>
            <a:endParaRPr lang="en-GB" sz="1200" b="1" dirty="0"/>
          </a:p>
        </p:txBody>
      </p:sp>
    </p:spTree>
    <p:extLst>
      <p:ext uri="{BB962C8B-B14F-4D97-AF65-F5344CB8AC3E}">
        <p14:creationId xmlns:p14="http://schemas.microsoft.com/office/powerpoint/2010/main" val="156228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879377" y="1114609"/>
            <a:ext cx="5009442" cy="450017"/>
          </a:xfrm>
        </p:spPr>
        <p:txBody>
          <a:bodyPr/>
          <a:lstStyle/>
          <a:p>
            <a:pPr marL="360363" indent="-179388"/>
            <a:r>
              <a:rPr lang="ru-RU" sz="1200" dirty="0" smtClean="0"/>
              <a:t>Решение по расчету ПКЛ работает в Альфа-банке, рекомендации могут быть предоставлены. </a:t>
            </a:r>
            <a:r>
              <a:rPr lang="en-US" sz="1200" dirty="0" smtClean="0"/>
              <a:t>Misys </a:t>
            </a:r>
            <a:r>
              <a:rPr lang="ru-RU" sz="1200" dirty="0" smtClean="0"/>
              <a:t>имеет опытную команду внедрения.</a:t>
            </a:r>
            <a:endParaRPr lang="en-GB" sz="1200" dirty="0" smtClean="0"/>
          </a:p>
          <a:p>
            <a:endParaRPr lang="en-GB" sz="12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 </a:t>
            </a:r>
            <a:r>
              <a:rPr lang="en-GB" b="1" dirty="0" smtClean="0"/>
              <a:t>MISYS</a:t>
            </a:r>
            <a:r>
              <a:rPr lang="en-GB" dirty="0" smtClean="0"/>
              <a:t> </a:t>
            </a:r>
            <a:r>
              <a:rPr lang="ru-RU" dirty="0" smtClean="0"/>
              <a:t>вы получаете корректные расчеты ПКЛ в срок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8" name="Right Arrow 7"/>
          <p:cNvSpPr/>
          <p:nvPr/>
        </p:nvSpPr>
        <p:spPr>
          <a:xfrm>
            <a:off x="715483" y="1340849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1223811" y="1102830"/>
            <a:ext cx="2336468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050" b="1" dirty="0" smtClean="0">
                <a:solidFill>
                  <a:srgbClr val="E94952"/>
                </a:solidFill>
              </a:rPr>
              <a:t>Misys </a:t>
            </a:r>
            <a:r>
              <a:rPr lang="ru-RU" sz="1050" b="1" dirty="0" smtClean="0">
                <a:solidFill>
                  <a:srgbClr val="E94952"/>
                </a:solidFill>
              </a:rPr>
              <a:t>обеспечивает оптимальные сроки </a:t>
            </a:r>
            <a:endParaRPr lang="en-GB" sz="1050" b="1" dirty="0">
              <a:solidFill>
                <a:srgbClr val="E94952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317293" y="1023925"/>
            <a:ext cx="2400300" cy="719666"/>
            <a:chOff x="363538" y="1082524"/>
            <a:chExt cx="2400300" cy="719666"/>
          </a:xfrm>
        </p:grpSpPr>
        <p:grpSp>
          <p:nvGrpSpPr>
            <p:cNvPr id="11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13" name="Straight Connector 12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" name="Straight Connector 11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1219200" y="3600665"/>
            <a:ext cx="2336468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E94952"/>
                </a:solidFill>
              </a:rPr>
              <a:t>Возможность параллельно рассчитывать ПКЛ по правилам 421-П и </a:t>
            </a:r>
            <a:r>
              <a:rPr lang="en-GB" sz="1050" b="1" dirty="0" smtClean="0">
                <a:solidFill>
                  <a:srgbClr val="E94952"/>
                </a:solidFill>
              </a:rPr>
              <a:t>LCR </a:t>
            </a:r>
            <a:r>
              <a:rPr lang="ru-RU" sz="1050" b="1" dirty="0" smtClean="0">
                <a:solidFill>
                  <a:srgbClr val="E94952"/>
                </a:solidFill>
              </a:rPr>
              <a:t>по правилам </a:t>
            </a:r>
            <a:r>
              <a:rPr lang="en-GB" sz="1050" b="1" dirty="0" smtClean="0">
                <a:solidFill>
                  <a:srgbClr val="E94952"/>
                </a:solidFill>
              </a:rPr>
              <a:t>BIS</a:t>
            </a:r>
            <a:endParaRPr lang="en-GB" sz="1050" b="1" dirty="0">
              <a:solidFill>
                <a:srgbClr val="E94952"/>
              </a:solidFill>
            </a:endParaRPr>
          </a:p>
          <a:p>
            <a:pPr>
              <a:spcAft>
                <a:spcPts val="600"/>
              </a:spcAft>
              <a:defRPr/>
            </a:pPr>
            <a:endParaRPr lang="en-GB" sz="1050" b="1" dirty="0">
              <a:solidFill>
                <a:srgbClr val="E9495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23811" y="2010672"/>
            <a:ext cx="2336468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E94952"/>
                </a:solidFill>
              </a:rPr>
              <a:t>Полностью автоматизированный процесс расчета</a:t>
            </a:r>
            <a:endParaRPr lang="en-GB" sz="1050" b="1" dirty="0">
              <a:solidFill>
                <a:srgbClr val="E9495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44160" y="2736390"/>
            <a:ext cx="2473433" cy="720000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E94952"/>
                </a:solidFill>
              </a:rPr>
              <a:t>Минимальные проектные риски</a:t>
            </a:r>
            <a:endParaRPr lang="ru-RU" sz="1050" b="1" dirty="0">
              <a:solidFill>
                <a:srgbClr val="E94952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317293" y="1979354"/>
            <a:ext cx="2400300" cy="719666"/>
            <a:chOff x="363538" y="1082524"/>
            <a:chExt cx="2400300" cy="719666"/>
          </a:xfrm>
        </p:grpSpPr>
        <p:grpSp>
          <p:nvGrpSpPr>
            <p:cNvPr id="20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22" name="Straight Connector 21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1317293" y="2730672"/>
            <a:ext cx="2400300" cy="719666"/>
            <a:chOff x="363538" y="1082524"/>
            <a:chExt cx="2400300" cy="719666"/>
          </a:xfrm>
        </p:grpSpPr>
        <p:grpSp>
          <p:nvGrpSpPr>
            <p:cNvPr id="25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27" name="Straight Connector 26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1317293" y="3604641"/>
            <a:ext cx="2400300" cy="719666"/>
            <a:chOff x="363538" y="1082524"/>
            <a:chExt cx="2400300" cy="719666"/>
          </a:xfrm>
        </p:grpSpPr>
        <p:grpSp>
          <p:nvGrpSpPr>
            <p:cNvPr id="30" name="Group 33"/>
            <p:cNvGrpSpPr>
              <a:grpSpLocks noChangeAspect="1"/>
            </p:cNvGrpSpPr>
            <p:nvPr/>
          </p:nvGrpSpPr>
          <p:grpSpPr bwMode="auto">
            <a:xfrm flipH="1">
              <a:off x="2601359" y="1082524"/>
              <a:ext cx="162479" cy="719666"/>
              <a:chOff x="4468255" y="1813560"/>
              <a:chExt cx="863600" cy="1735922"/>
            </a:xfrm>
          </p:grpSpPr>
          <p:cxnSp>
            <p:nvCxnSpPr>
              <p:cNvPr id="32" name="Straight Connector 31"/>
              <p:cNvCxnSpPr/>
              <p:nvPr/>
            </p:nvCxnSpPr>
            <p:spPr>
              <a:xfrm flipH="1">
                <a:off x="4468255" y="1808966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/>
            </p:nvCxnSpPr>
            <p:spPr>
              <a:xfrm>
                <a:off x="4468255" y="2686113"/>
                <a:ext cx="860655" cy="863369"/>
              </a:xfrm>
              <a:prstGeom prst="line">
                <a:avLst/>
              </a:prstGeom>
              <a:ln w="12700" cap="rnd" cmpd="sng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1" name="Straight Connector 30"/>
            <p:cNvCxnSpPr/>
            <p:nvPr/>
          </p:nvCxnSpPr>
          <p:spPr bwMode="auto">
            <a:xfrm flipH="1">
              <a:off x="363538" y="1082524"/>
              <a:ext cx="2238375" cy="0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4" name="Content Placeholder 2"/>
          <p:cNvSpPr txBox="1">
            <a:spLocks/>
          </p:cNvSpPr>
          <p:nvPr/>
        </p:nvSpPr>
        <p:spPr>
          <a:xfrm>
            <a:off x="3879377" y="2010672"/>
            <a:ext cx="5009442" cy="688348"/>
          </a:xfrm>
          <a:prstGeom prst="rect">
            <a:avLst/>
          </a:prstGeom>
        </p:spPr>
        <p:txBody>
          <a:bodyPr lIns="0" tIns="0" rIns="0" bIns="0"/>
          <a:lstStyle>
            <a:lvl1pPr marL="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6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4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2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0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457200" rtl="0" eaLnBrk="1" latinLnBrk="0" hangingPunct="1">
              <a:spcBef>
                <a:spcPts val="300"/>
              </a:spcBef>
              <a:buFont typeface="Arial"/>
              <a:buChar char="»"/>
              <a:defRPr sz="8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indent="-179388"/>
            <a:r>
              <a:rPr lang="ru-RU" sz="1200" dirty="0" smtClean="0"/>
              <a:t>Полностью настроенный расчет выполняется без привлечения пользователя автоматически от получения данных до генерации отчета</a:t>
            </a:r>
            <a:endParaRPr lang="en-GB" sz="1200" dirty="0"/>
          </a:p>
          <a:p>
            <a:endParaRPr lang="en-GB" sz="1200" dirty="0"/>
          </a:p>
        </p:txBody>
      </p:sp>
      <p:sp>
        <p:nvSpPr>
          <p:cNvPr id="35" name="Content Placeholder 2"/>
          <p:cNvSpPr txBox="1">
            <a:spLocks/>
          </p:cNvSpPr>
          <p:nvPr/>
        </p:nvSpPr>
        <p:spPr>
          <a:xfrm>
            <a:off x="3879377" y="2821356"/>
            <a:ext cx="5009442" cy="450017"/>
          </a:xfrm>
          <a:prstGeom prst="rect">
            <a:avLst/>
          </a:prstGeom>
        </p:spPr>
        <p:txBody>
          <a:bodyPr lIns="0" tIns="0" rIns="0" bIns="0"/>
          <a:lstStyle>
            <a:lvl1pPr marL="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6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4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2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0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457200" rtl="0" eaLnBrk="1" latinLnBrk="0" hangingPunct="1">
              <a:spcBef>
                <a:spcPts val="300"/>
              </a:spcBef>
              <a:buFont typeface="Arial"/>
              <a:buChar char="»"/>
              <a:defRPr sz="8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indent="-179388"/>
            <a:r>
              <a:rPr lang="ru-RU" sz="1200" smtClean="0"/>
              <a:t>Модель поставки и внедрения базируется на стандартной адаптированной к требованиям 421-П поставке</a:t>
            </a:r>
            <a:endParaRPr lang="en-GB" sz="1200" dirty="0" smtClean="0"/>
          </a:p>
          <a:p>
            <a:endParaRPr lang="en-GB" sz="1200" dirty="0"/>
          </a:p>
        </p:txBody>
      </p:sp>
      <p:sp>
        <p:nvSpPr>
          <p:cNvPr id="36" name="Content Placeholder 2"/>
          <p:cNvSpPr txBox="1">
            <a:spLocks/>
          </p:cNvSpPr>
          <p:nvPr/>
        </p:nvSpPr>
        <p:spPr>
          <a:xfrm>
            <a:off x="3879377" y="3602736"/>
            <a:ext cx="5009442" cy="450017"/>
          </a:xfrm>
          <a:prstGeom prst="rect">
            <a:avLst/>
          </a:prstGeom>
        </p:spPr>
        <p:txBody>
          <a:bodyPr lIns="0" tIns="0" rIns="0" bIns="0"/>
          <a:lstStyle>
            <a:lvl1pPr marL="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6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4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eaLnBrk="1" latinLnBrk="0" hangingPunct="1">
              <a:spcBef>
                <a:spcPts val="300"/>
              </a:spcBef>
              <a:buFont typeface="Arial"/>
              <a:buChar char="•"/>
              <a:defRPr sz="12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457200" rtl="0" eaLnBrk="1" latinLnBrk="0" hangingPunct="1">
              <a:spcBef>
                <a:spcPts val="300"/>
              </a:spcBef>
              <a:buFont typeface="Arial"/>
              <a:buChar char="–"/>
              <a:defRPr sz="10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457200" rtl="0" eaLnBrk="1" latinLnBrk="0" hangingPunct="1">
              <a:spcBef>
                <a:spcPts val="300"/>
              </a:spcBef>
              <a:buFont typeface="Arial"/>
              <a:buChar char="»"/>
              <a:defRPr sz="800" kern="1200">
                <a:solidFill>
                  <a:srgbClr val="41414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63" indent="-179388"/>
            <a:r>
              <a:rPr lang="en-GB" sz="1200" dirty="0" smtClean="0"/>
              <a:t>Misys </a:t>
            </a:r>
            <a:r>
              <a:rPr lang="ru-RU" sz="1200" dirty="0" smtClean="0"/>
              <a:t>имеет локальный и международный опыт. Решение допускает параллельный расчет по разным правилам</a:t>
            </a:r>
            <a:endParaRPr lang="en-GB" sz="1200" dirty="0" smtClean="0"/>
          </a:p>
          <a:p>
            <a:endParaRPr lang="en-GB" sz="1200" dirty="0"/>
          </a:p>
        </p:txBody>
      </p:sp>
      <p:sp>
        <p:nvSpPr>
          <p:cNvPr id="37" name="Right Arrow 36"/>
          <p:cNvSpPr/>
          <p:nvPr/>
        </p:nvSpPr>
        <p:spPr>
          <a:xfrm>
            <a:off x="715483" y="2317006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ight Arrow 37"/>
          <p:cNvSpPr/>
          <p:nvPr/>
        </p:nvSpPr>
        <p:spPr>
          <a:xfrm>
            <a:off x="715483" y="3043966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ight Arrow 38"/>
          <p:cNvSpPr/>
          <p:nvPr/>
        </p:nvSpPr>
        <p:spPr>
          <a:xfrm>
            <a:off x="715483" y="3875604"/>
            <a:ext cx="212651" cy="170121"/>
          </a:xfrm>
          <a:prstGeom prst="rightArrow">
            <a:avLst/>
          </a:prstGeom>
          <a:solidFill>
            <a:srgbClr val="E9495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11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r>
              <a:rPr lang="ru-RU" dirty="0" smtClean="0"/>
              <a:t>Расчет ПКЛ </a:t>
            </a:r>
            <a:r>
              <a:rPr lang="en-US" dirty="0" smtClean="0"/>
              <a:t>c </a:t>
            </a:r>
            <a:r>
              <a:rPr lang="en-GB" b="1" dirty="0" smtClean="0"/>
              <a:t>Misys Fusion Risk</a:t>
            </a:r>
            <a:endParaRPr lang="en-GB" sz="1600" b="1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 2014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graphicFrame>
        <p:nvGraphicFramePr>
          <p:cNvPr id="10" name="Diagram 5"/>
          <p:cNvGraphicFramePr/>
          <p:nvPr>
            <p:extLst>
              <p:ext uri="{D42A27DB-BD31-4B8C-83A1-F6EECF244321}">
                <p14:modId xmlns:p14="http://schemas.microsoft.com/office/powerpoint/2010/main" val="313153323"/>
              </p:ext>
            </p:extLst>
          </p:nvPr>
        </p:nvGraphicFramePr>
        <p:xfrm>
          <a:off x="866774" y="1000125"/>
          <a:ext cx="7445375" cy="3543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150479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927C1F04-3654-44B8-9784-47A7E7E04F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graphicEl>
                                              <a:dgm id="{927C1F04-3654-44B8-9784-47A7E7E04F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graphicEl>
                                              <a:dgm id="{927C1F04-3654-44B8-9784-47A7E7E04F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48C9DCFD-FE0A-4836-A047-EEB8DD9E8D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graphicEl>
                                              <a:dgm id="{48C9DCFD-FE0A-4836-A047-EEB8DD9E8D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graphicEl>
                                              <a:dgm id="{48C9DCFD-FE0A-4836-A047-EEB8DD9E8D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723B18F7-131A-413B-ACF9-9850949745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graphicEl>
                                              <a:dgm id="{723B18F7-131A-413B-ACF9-9850949745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graphicEl>
                                              <a:dgm id="{723B18F7-131A-413B-ACF9-9850949745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A3AFE93A-1328-4C83-87BF-FCDAF41ECB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graphicEl>
                                              <a:dgm id="{A3AFE93A-1328-4C83-87BF-FCDAF41ECB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graphicEl>
                                              <a:dgm id="{A3AFE93A-1328-4C83-87BF-FCDAF41ECB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F47342EF-015D-4230-A3F2-97971EA5A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graphicEl>
                                              <a:dgm id="{F47342EF-015D-4230-A3F2-97971EA5A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graphicEl>
                                              <a:dgm id="{F47342EF-015D-4230-A3F2-97971EA5A8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8</a:t>
            </a:fld>
            <a:endParaRPr lang="en-GB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5725000"/>
              </p:ext>
            </p:extLst>
          </p:nvPr>
        </p:nvGraphicFramePr>
        <p:xfrm>
          <a:off x="655639" y="1619250"/>
          <a:ext cx="6716712" cy="2490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чет ПКЛ с </a:t>
            </a:r>
            <a:r>
              <a:rPr lang="en-GB" dirty="0" smtClean="0"/>
              <a:t> </a:t>
            </a:r>
            <a:r>
              <a:rPr lang="en-GB" b="1" dirty="0" smtClean="0"/>
              <a:t>Misys Fusion Risk</a:t>
            </a:r>
            <a:endParaRPr lang="en-GB" b="1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pic>
        <p:nvPicPr>
          <p:cNvPr id="1026" name="Picture 2" descr="C:\Users\ebehrend\Documents\Documents\External communications\FusionRisk ppts\ICONs_1-141\Icon-6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485" y="2507360"/>
            <a:ext cx="719329" cy="719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562850" y="3486150"/>
            <a:ext cx="12183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Отчетная система банка,</a:t>
            </a:r>
            <a:r>
              <a:rPr lang="en-US" sz="1200" dirty="0" smtClean="0"/>
              <a:t> </a:t>
            </a:r>
            <a:r>
              <a:rPr lang="ru-RU" sz="1200" dirty="0" smtClean="0"/>
              <a:t> </a:t>
            </a:r>
            <a:r>
              <a:rPr lang="en-US" sz="1200" dirty="0" err="1" smtClean="0"/>
              <a:t>Kliko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7109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2C15F2-42FE-A944-9743-3E35339DA74A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мпорт данных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© Misys</a:t>
            </a:r>
            <a:endParaRPr lang="en-GB" baseline="30000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928435" y="4803931"/>
            <a:ext cx="1471990" cy="216000"/>
          </a:xfrm>
        </p:spPr>
        <p:txBody>
          <a:bodyPr/>
          <a:lstStyle/>
          <a:p>
            <a:fld id="{2D4BF20C-2D2F-2040-829F-027D1B5262DC}" type="datetime3">
              <a:rPr lang="en-GB" smtClean="0"/>
              <a:pPr/>
              <a:t>4 September, 2015</a:t>
            </a:fld>
            <a:endParaRPr lang="en-GB" dirty="0"/>
          </a:p>
        </p:txBody>
      </p:sp>
      <p:sp>
        <p:nvSpPr>
          <p:cNvPr id="9" name="Oval 8"/>
          <p:cNvSpPr/>
          <p:nvPr/>
        </p:nvSpPr>
        <p:spPr>
          <a:xfrm>
            <a:off x="4038600" y="2614831"/>
            <a:ext cx="1038225" cy="981075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>
          <a:xfrm>
            <a:off x="4288646" y="944232"/>
            <a:ext cx="1981199" cy="905051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Статическая информация</a:t>
            </a:r>
            <a:endParaRPr lang="en-GB" sz="10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Типы продуктов</a:t>
            </a:r>
            <a:endParaRPr lang="en-GB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Типы источников</a:t>
            </a:r>
            <a:endParaRPr lang="en-GB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Типы рыночных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Типы рейтингов</a:t>
            </a:r>
            <a:endParaRPr lang="en-GB" sz="1000" dirty="0"/>
          </a:p>
        </p:txBody>
      </p:sp>
      <p:sp>
        <p:nvSpPr>
          <p:cNvPr id="11" name="Right Arrow 10"/>
          <p:cNvSpPr/>
          <p:nvPr/>
        </p:nvSpPr>
        <p:spPr>
          <a:xfrm rot="5400000">
            <a:off x="4454284" y="2223428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4222326" y="2894738"/>
            <a:ext cx="721480" cy="46166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1200" dirty="0" smtClean="0"/>
              <a:t>Импорт</a:t>
            </a:r>
          </a:p>
          <a:p>
            <a:pPr algn="ctr"/>
            <a:r>
              <a:rPr lang="ru-RU" sz="1200" dirty="0" smtClean="0"/>
              <a:t>данных</a:t>
            </a:r>
            <a:endParaRPr lang="en-GB" sz="1200" dirty="0"/>
          </a:p>
        </p:txBody>
      </p:sp>
      <p:sp>
        <p:nvSpPr>
          <p:cNvPr id="13" name="Rectangle 12"/>
          <p:cNvSpPr/>
          <p:nvPr/>
        </p:nvSpPr>
        <p:spPr>
          <a:xfrm>
            <a:off x="5888242" y="2207400"/>
            <a:ext cx="1691866" cy="1197592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Рыночные данные</a:t>
            </a:r>
            <a:endParaRPr lang="en-GB" sz="10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Ставки валю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Котировки бумаг для расчета обсцен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Информация о бумагах из ломбардного списка</a:t>
            </a:r>
            <a:endParaRPr lang="en-GB" sz="1000" dirty="0"/>
          </a:p>
        </p:txBody>
      </p:sp>
      <p:sp>
        <p:nvSpPr>
          <p:cNvPr id="14" name="Right Arrow 13"/>
          <p:cNvSpPr/>
          <p:nvPr/>
        </p:nvSpPr>
        <p:spPr>
          <a:xfrm rot="9801281">
            <a:off x="5264111" y="2726431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5888241" y="3671316"/>
            <a:ext cx="1988934" cy="548259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Контракты</a:t>
            </a:r>
            <a:endParaRPr lang="en-GB" sz="1000" b="1" dirty="0" smtClean="0"/>
          </a:p>
          <a:p>
            <a:r>
              <a:rPr lang="ru-RU" sz="1000" dirty="0"/>
              <a:t>с</a:t>
            </a:r>
            <a:r>
              <a:rPr lang="ru-RU" sz="1000" dirty="0" smtClean="0"/>
              <a:t> признаками в зависимости от типа контракта</a:t>
            </a:r>
            <a:endParaRPr lang="en-GB" sz="1000" dirty="0"/>
          </a:p>
        </p:txBody>
      </p:sp>
      <p:sp>
        <p:nvSpPr>
          <p:cNvPr id="16" name="Right Arrow 15"/>
          <p:cNvSpPr/>
          <p:nvPr/>
        </p:nvSpPr>
        <p:spPr>
          <a:xfrm rot="12367516">
            <a:off x="5235167" y="3367113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ight Arrow 18"/>
          <p:cNvSpPr/>
          <p:nvPr/>
        </p:nvSpPr>
        <p:spPr>
          <a:xfrm rot="14952399">
            <a:off x="4763276" y="3802187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/>
        </p:nvSpPr>
        <p:spPr>
          <a:xfrm>
            <a:off x="3987365" y="4297912"/>
            <a:ext cx="1832410" cy="312188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Залоги и др. обеспечение</a:t>
            </a:r>
            <a:endParaRPr lang="en-GB" sz="1000" dirty="0"/>
          </a:p>
        </p:txBody>
      </p:sp>
      <p:sp>
        <p:nvSpPr>
          <p:cNvPr id="22" name="Rectangle 21"/>
          <p:cNvSpPr/>
          <p:nvPr/>
        </p:nvSpPr>
        <p:spPr>
          <a:xfrm>
            <a:off x="1878292" y="3945445"/>
            <a:ext cx="1791313" cy="476249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Рейтинги</a:t>
            </a:r>
            <a:endParaRPr lang="en-GB" sz="1000" b="1" dirty="0" smtClean="0"/>
          </a:p>
          <a:p>
            <a:r>
              <a:rPr lang="ru-RU" sz="1000" dirty="0" smtClean="0"/>
              <a:t>Контрактов, контрагентов, залогов</a:t>
            </a:r>
            <a:endParaRPr lang="en-GB" sz="1000" dirty="0"/>
          </a:p>
        </p:txBody>
      </p:sp>
      <p:sp>
        <p:nvSpPr>
          <p:cNvPr id="23" name="Right Arrow 22"/>
          <p:cNvSpPr/>
          <p:nvPr/>
        </p:nvSpPr>
        <p:spPr>
          <a:xfrm rot="18725756">
            <a:off x="3934244" y="3741205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/>
        </p:nvSpPr>
        <p:spPr>
          <a:xfrm>
            <a:off x="1738409" y="2996103"/>
            <a:ext cx="1575718" cy="494835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Контрагенты</a:t>
            </a:r>
          </a:p>
          <a:p>
            <a:r>
              <a:rPr lang="ru-RU" sz="900" dirty="0" smtClean="0"/>
              <a:t>со всеми необходимыми атрибутами</a:t>
            </a:r>
            <a:endParaRPr lang="en-GB" sz="900" dirty="0"/>
          </a:p>
        </p:txBody>
      </p:sp>
      <p:sp>
        <p:nvSpPr>
          <p:cNvPr id="25" name="Right Arrow 24"/>
          <p:cNvSpPr/>
          <p:nvPr/>
        </p:nvSpPr>
        <p:spPr>
          <a:xfrm>
            <a:off x="3601372" y="3243288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/>
        </p:nvSpPr>
        <p:spPr>
          <a:xfrm>
            <a:off x="1738409" y="2163070"/>
            <a:ext cx="1623537" cy="513347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/>
              <a:t>Бухгалтерская информация</a:t>
            </a:r>
          </a:p>
        </p:txBody>
      </p:sp>
      <p:sp>
        <p:nvSpPr>
          <p:cNvPr id="28" name="Right Arrow 27"/>
          <p:cNvSpPr/>
          <p:nvPr/>
        </p:nvSpPr>
        <p:spPr>
          <a:xfrm rot="1987737">
            <a:off x="3737005" y="2413018"/>
            <a:ext cx="314325" cy="247650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extBox 32"/>
          <p:cNvSpPr txBox="1"/>
          <p:nvPr/>
        </p:nvSpPr>
        <p:spPr>
          <a:xfrm>
            <a:off x="360000" y="914400"/>
            <a:ext cx="2563919" cy="367110"/>
          </a:xfrm>
          <a:prstGeom prst="rect">
            <a:avLst/>
          </a:prstGeom>
          <a:gradFill>
            <a:gsLst>
              <a:gs pos="20000">
                <a:schemeClr val="accent5">
                  <a:tint val="9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 smtClean="0"/>
              <a:t>1. </a:t>
            </a:r>
            <a:r>
              <a:rPr lang="ru-RU" dirty="0" smtClean="0"/>
              <a:t>Импорт данных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645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19" grpId="0" animBg="1"/>
      <p:bldP spid="20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pi67i323Eqf_YC2Ohzy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yC8jvXgX0ydl6QgXmsM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heme/theme1.xml><?xml version="1.0" encoding="utf-8"?>
<a:theme xmlns:a="http://schemas.openxmlformats.org/drawingml/2006/main" name="2015_Misys_FusionRisk_LCR_PPT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 cmpd="sng">
          <a:solidFill>
            <a:schemeClr val="tx1"/>
          </a:solidFill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7E9FF1D653E04FAE62F0B9FAA426FB" ma:contentTypeVersion="6" ma:contentTypeDescription="Create a new document." ma:contentTypeScope="" ma:versionID="90100dc4249d284fb3f11893c552205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6b5559aa7bc42d946178072c65451e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E6F99E69-F3E5-4740-A861-E36727F7D565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sharepoint/v3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00CDC28-24C7-4537-8B55-537EE7A8A1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2FA51B-FF9D-473E-8067-7AE313DF29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gles</Template>
  <TotalTime>3869</TotalTime>
  <Words>1820</Words>
  <Application>Microsoft Office PowerPoint</Application>
  <PresentationFormat>On-screen Show (16:9)</PresentationFormat>
  <Paragraphs>361</Paragraphs>
  <Slides>25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2015_Misys_FusionRisk_LCR_PPT</vt:lpstr>
      <vt:lpstr>Chart</vt:lpstr>
      <vt:lpstr>Microsoft Excel 97-2003 Worksheet</vt:lpstr>
      <vt:lpstr>PowerPoint Presentation</vt:lpstr>
      <vt:lpstr>Управление рисками в России</vt:lpstr>
      <vt:lpstr>Яркий пример внедрения стандартов Basel II/III в России -  функционал MISYS Fusion Risk для расчета Показателя Краткосрочной Ликвидности ПКЛ (aka LCR)  </vt:lpstr>
      <vt:lpstr>ПКЛ – пруденциальный норматив для системно-значимых банков </vt:lpstr>
      <vt:lpstr>Общепринятая практика расчета и мониторинга LCR</vt:lpstr>
      <vt:lpstr>С MISYS вы получаете корректные расчеты ПКЛ в срок</vt:lpstr>
      <vt:lpstr>Расчет ПКЛ c Misys Fusion Risk</vt:lpstr>
      <vt:lpstr>Расчет ПКЛ с  Misys Fusion Risk</vt:lpstr>
      <vt:lpstr>Импорт данных</vt:lpstr>
      <vt:lpstr>Импорт данных: документированные требования к данным</vt:lpstr>
      <vt:lpstr>Импорт данных: работа с большими объемами</vt:lpstr>
      <vt:lpstr>Расчет ПКЛ с FusionRisk – обработка данных</vt:lpstr>
      <vt:lpstr>PowerPoint Presentation</vt:lpstr>
      <vt:lpstr>PowerPoint Presentation</vt:lpstr>
      <vt:lpstr>Формирование отчета</vt:lpstr>
      <vt:lpstr>Автоматизированный процесс</vt:lpstr>
      <vt:lpstr>Misys предлагает</vt:lpstr>
      <vt:lpstr>Misys Fusion Risk. Больше чем просто поддержка регуляторных требований</vt:lpstr>
      <vt:lpstr>Misys FusionRisk – все, что нужно для управления риском</vt:lpstr>
      <vt:lpstr>Ключевые риск-индикаторы на вашем планшете</vt:lpstr>
      <vt:lpstr>Misys FusionRisk – это сплав технологий и модулей, наработанных нами за 30 лет более чем с 400 клиентами!</vt:lpstr>
      <vt:lpstr>MISYS сегодня</vt:lpstr>
      <vt:lpstr>MISYS сегодня - глобальная клиентская база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hrend, Elke</dc:creator>
  <cp:lastModifiedBy>Lyskov, Maxim</cp:lastModifiedBy>
  <cp:revision>110</cp:revision>
  <dcterms:created xsi:type="dcterms:W3CDTF">2015-08-03T07:55:45Z</dcterms:created>
  <dcterms:modified xsi:type="dcterms:W3CDTF">2015-09-04T08:2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7E9FF1D653E04FAE62F0B9FAA426FB</vt:lpwstr>
  </property>
</Properties>
</file>